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ink/ink1.xml" ContentType="application/inkml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0.xml" ContentType="application/vnd.openxmlformats-officedocument.presentationml.notesSlide+xml"/>
  <Override PartName="/ppt/tags/tag190.xml" ContentType="application/vnd.openxmlformats-officedocument.presentationml.tags+xml"/>
  <Override PartName="/ppt/notesSlides/notesSlide11.xml" ContentType="application/vnd.openxmlformats-officedocument.presentationml.notesSlide+xml"/>
  <Override PartName="/ppt/tags/tag191.xml" ContentType="application/vnd.openxmlformats-officedocument.presentationml.tags+xml"/>
  <Override PartName="/ppt/notesSlides/notesSlide12.xml" ContentType="application/vnd.openxmlformats-officedocument.presentationml.notesSlide+xml"/>
  <Override PartName="/ppt/tags/tag192.xml" ContentType="application/vnd.openxmlformats-officedocument.presentationml.tags+xml"/>
  <Override PartName="/ppt/notesSlides/notesSlide13.xml" ContentType="application/vnd.openxmlformats-officedocument.presentationml.notesSlide+xml"/>
  <Override PartName="/ppt/tags/tag193.xml" ContentType="application/vnd.openxmlformats-officedocument.presentationml.tags+xml"/>
  <Override PartName="/ppt/notesSlides/notesSlide14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15.xml" ContentType="application/vnd.openxmlformats-officedocument.presentationml.notesSlide+xml"/>
  <Override PartName="/ppt/tags/tag197.xml" ContentType="application/vnd.openxmlformats-officedocument.presentationml.tags+xml"/>
  <Override PartName="/ppt/notesSlides/notesSlide16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17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notesSlides/notesSlide18.xml" ContentType="application/vnd.openxmlformats-officedocument.presentationml.notesSlide+xml"/>
  <Override PartName="/ppt/ink/ink2.xml" ContentType="application/inkml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notesSlides/notesSlide19.xml" ContentType="application/vnd.openxmlformats-officedocument.presentationml.notesSlide+xml"/>
  <Override PartName="/ppt/ink/ink3.xml" ContentType="application/inkml+xml"/>
  <Override PartName="/ppt/tags/tag468.xml" ContentType="application/vnd.openxmlformats-officedocument.presentationml.tags+xml"/>
  <Override PartName="/ppt/notesSlides/notesSlide20.xml" ContentType="application/vnd.openxmlformats-officedocument.presentationml.notesSlide+xml"/>
  <Override PartName="/ppt/ink/ink4.xml" ContentType="application/inkml+xml"/>
  <Override PartName="/ppt/tags/tag469.xml" ContentType="application/vnd.openxmlformats-officedocument.presentationml.tags+xml"/>
  <Override PartName="/ppt/notesSlides/notesSlide21.xml" ContentType="application/vnd.openxmlformats-officedocument.presentationml.notesSlide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notesSlides/notesSlide22.xml" ContentType="application/vnd.openxmlformats-officedocument.presentationml.notesSlide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notesSlides/notesSlide23.xml" ContentType="application/vnd.openxmlformats-officedocument.presentationml.notesSlide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6"/>
  </p:sldMasterIdLst>
  <p:notesMasterIdLst>
    <p:notesMasterId r:id="rId68"/>
  </p:notesMasterIdLst>
  <p:handoutMasterIdLst>
    <p:handoutMasterId r:id="rId69"/>
  </p:handoutMasterIdLst>
  <p:sldIdLst>
    <p:sldId id="256" r:id="rId27"/>
    <p:sldId id="3536" r:id="rId28"/>
    <p:sldId id="5163" r:id="rId29"/>
    <p:sldId id="3506" r:id="rId30"/>
    <p:sldId id="5149" r:id="rId31"/>
    <p:sldId id="864" r:id="rId32"/>
    <p:sldId id="5150" r:id="rId33"/>
    <p:sldId id="3430" r:id="rId34"/>
    <p:sldId id="3467" r:id="rId35"/>
    <p:sldId id="3431" r:id="rId36"/>
    <p:sldId id="3592" r:id="rId37"/>
    <p:sldId id="5153" r:id="rId38"/>
    <p:sldId id="5152" r:id="rId39"/>
    <p:sldId id="5160" r:id="rId40"/>
    <p:sldId id="258" r:id="rId41"/>
    <p:sldId id="259" r:id="rId42"/>
    <p:sldId id="5151" r:id="rId43"/>
    <p:sldId id="5135" r:id="rId44"/>
    <p:sldId id="5136" r:id="rId45"/>
    <p:sldId id="5131" r:id="rId46"/>
    <p:sldId id="317" r:id="rId47"/>
    <p:sldId id="3544" r:id="rId48"/>
    <p:sldId id="3564" r:id="rId49"/>
    <p:sldId id="320" r:id="rId50"/>
    <p:sldId id="323" r:id="rId51"/>
    <p:sldId id="3551" r:id="rId52"/>
    <p:sldId id="5166" r:id="rId53"/>
    <p:sldId id="5168" r:id="rId54"/>
    <p:sldId id="5155" r:id="rId55"/>
    <p:sldId id="3618" r:id="rId56"/>
    <p:sldId id="3577" r:id="rId57"/>
    <p:sldId id="5158" r:id="rId58"/>
    <p:sldId id="3581" r:id="rId59"/>
    <p:sldId id="3578" r:id="rId60"/>
    <p:sldId id="3582" r:id="rId61"/>
    <p:sldId id="3583" r:id="rId62"/>
    <p:sldId id="5156" r:id="rId63"/>
    <p:sldId id="3494" r:id="rId64"/>
    <p:sldId id="5164" r:id="rId65"/>
    <p:sldId id="5157" r:id="rId66"/>
    <p:sldId id="5057" r:id="rId67"/>
  </p:sldIdLst>
  <p:sldSz cx="12192000" cy="6858000"/>
  <p:notesSz cx="7315200" cy="9601200"/>
  <p:custDataLst>
    <p:tags r:id="rId7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3D3DD46-5058-4949-9AA0-F2BF950AB391}">
          <p14:sldIdLst>
            <p14:sldId id="256"/>
            <p14:sldId id="3536"/>
            <p14:sldId id="5163"/>
            <p14:sldId id="3506"/>
            <p14:sldId id="5149"/>
            <p14:sldId id="864"/>
            <p14:sldId id="5150"/>
            <p14:sldId id="3430"/>
            <p14:sldId id="3467"/>
            <p14:sldId id="3431"/>
            <p14:sldId id="3592"/>
            <p14:sldId id="5153"/>
            <p14:sldId id="5152"/>
            <p14:sldId id="5160"/>
            <p14:sldId id="258"/>
            <p14:sldId id="259"/>
            <p14:sldId id="5151"/>
            <p14:sldId id="5135"/>
            <p14:sldId id="5136"/>
            <p14:sldId id="5131"/>
            <p14:sldId id="317"/>
            <p14:sldId id="3544"/>
            <p14:sldId id="3564"/>
            <p14:sldId id="320"/>
            <p14:sldId id="323"/>
            <p14:sldId id="3551"/>
            <p14:sldId id="5166"/>
            <p14:sldId id="5168"/>
            <p14:sldId id="5155"/>
            <p14:sldId id="3618"/>
            <p14:sldId id="3577"/>
            <p14:sldId id="5158"/>
            <p14:sldId id="3581"/>
            <p14:sldId id="3578"/>
            <p14:sldId id="3582"/>
            <p14:sldId id="3583"/>
            <p14:sldId id="5156"/>
            <p14:sldId id="3494"/>
            <p14:sldId id="5164"/>
            <p14:sldId id="5157"/>
            <p14:sldId id="5057"/>
          </p14:sldIdLst>
        </p14:section>
      </p14:sectionLst>
    </p:ex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FF"/>
    <a:srgbClr val="014693"/>
    <a:srgbClr val="004F8B"/>
    <a:srgbClr val="000000"/>
    <a:srgbClr val="92D050"/>
    <a:srgbClr val="0166CB"/>
    <a:srgbClr val="ED8013"/>
    <a:srgbClr val="A3B3D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5" autoAdjust="0"/>
    <p:restoredTop sz="77939" autoAdjust="0"/>
  </p:normalViewPr>
  <p:slideViewPr>
    <p:cSldViewPr snapToGrid="0">
      <p:cViewPr>
        <p:scale>
          <a:sx n="90" d="100"/>
          <a:sy n="90" d="100"/>
        </p:scale>
        <p:origin x="44" y="44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1.xml"/><Relationship Id="rId39" Type="http://schemas.openxmlformats.org/officeDocument/2006/relationships/slide" Target="slides/slide13.xml"/><Relationship Id="rId21" Type="http://schemas.openxmlformats.org/officeDocument/2006/relationships/customXml" Target="../customXml/item21.xml"/><Relationship Id="rId34" Type="http://schemas.openxmlformats.org/officeDocument/2006/relationships/slide" Target="slides/slide8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50" Type="http://schemas.openxmlformats.org/officeDocument/2006/relationships/slide" Target="slides/slide24.xml"/><Relationship Id="rId55" Type="http://schemas.openxmlformats.org/officeDocument/2006/relationships/slide" Target="slides/slide29.xml"/><Relationship Id="rId63" Type="http://schemas.openxmlformats.org/officeDocument/2006/relationships/slide" Target="slides/slide37.xml"/><Relationship Id="rId68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71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3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slide" Target="slides/slide27.xml"/><Relationship Id="rId58" Type="http://schemas.openxmlformats.org/officeDocument/2006/relationships/slide" Target="slides/slide32.xml"/><Relationship Id="rId66" Type="http://schemas.openxmlformats.org/officeDocument/2006/relationships/slide" Target="slides/slide40.xml"/><Relationship Id="rId7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openxmlformats.org/officeDocument/2006/relationships/slide" Target="slides/slide31.xml"/><Relationship Id="rId61" Type="http://schemas.openxmlformats.org/officeDocument/2006/relationships/slide" Target="slides/slide35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slide" Target="slides/slide26.xml"/><Relationship Id="rId60" Type="http://schemas.openxmlformats.org/officeDocument/2006/relationships/slide" Target="slides/slide34.xml"/><Relationship Id="rId65" Type="http://schemas.openxmlformats.org/officeDocument/2006/relationships/slide" Target="slides/slide39.xml"/><Relationship Id="rId73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56" Type="http://schemas.openxmlformats.org/officeDocument/2006/relationships/slide" Target="slides/slide30.xml"/><Relationship Id="rId64" Type="http://schemas.openxmlformats.org/officeDocument/2006/relationships/slide" Target="slides/slide38.xml"/><Relationship Id="rId69" Type="http://schemas.openxmlformats.org/officeDocument/2006/relationships/handoutMaster" Target="handoutMasters/handout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25.xml"/><Relationship Id="rId72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59" Type="http://schemas.openxmlformats.org/officeDocument/2006/relationships/slide" Target="slides/slide33.xml"/><Relationship Id="rId67" Type="http://schemas.openxmlformats.org/officeDocument/2006/relationships/slide" Target="slides/slide41.xml"/><Relationship Id="rId20" Type="http://schemas.openxmlformats.org/officeDocument/2006/relationships/customXml" Target="../customXml/item20.xml"/><Relationship Id="rId41" Type="http://schemas.openxmlformats.org/officeDocument/2006/relationships/slide" Target="slides/slide15.xml"/><Relationship Id="rId54" Type="http://schemas.openxmlformats.org/officeDocument/2006/relationships/slide" Target="slides/slide28.xml"/><Relationship Id="rId62" Type="http://schemas.openxmlformats.org/officeDocument/2006/relationships/slide" Target="slides/slide36.xml"/><Relationship Id="rId7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>
        <a:solidFill>
          <a:srgbClr val="A3B3D0"/>
        </a:solidFill>
      </dgm:spPr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Jun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327040"/>
          <a:ext cx="1061904" cy="309884"/>
        </a:xfrm>
        <a:prstGeom prst="homePlat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an</a:t>
          </a:r>
        </a:p>
      </dsp:txBody>
      <dsp:txXfrm>
        <a:off x="5028" y="327040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327040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009493" y="327040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327040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327040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327040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327040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327040"/>
          <a:ext cx="1061904" cy="309884"/>
        </a:xfrm>
        <a:prstGeom prst="chevron">
          <a:avLst/>
        </a:prstGeom>
        <a:solidFill>
          <a:srgbClr val="A3B3D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327040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Jun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4407586" y="327040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ul</a:t>
          </a:r>
        </a:p>
      </dsp:txBody>
      <dsp:txXfrm>
        <a:off x="5257109" y="327040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106633" y="327040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956156" y="327040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7805679" y="327040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Nov</a:t>
          </a:r>
        </a:p>
      </dsp:txBody>
      <dsp:txXfrm>
        <a:off x="8655202" y="327040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Des</a:t>
          </a:r>
        </a:p>
      </dsp:txBody>
      <dsp:txXfrm>
        <a:off x="9504726" y="327040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an</a:t>
          </a:r>
        </a:p>
      </dsp:txBody>
      <dsp:txXfrm>
        <a:off x="10354249" y="327040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11203772" y="327040"/>
        <a:ext cx="752020" cy="3098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4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2-04T06:22:43.678"/>
    </inkml:context>
    <inkml:brush xml:id="br0">
      <inkml:brushProperty name="width" value="0.21167" units="cm"/>
      <inkml:brushProperty name="height" value="0.21167" units="cm"/>
      <inkml:brushProperty name="color" value="#0166CB"/>
      <inkml:brushProperty name="ignorePressure" value="1"/>
    </inkml:brush>
  </inkml:definitions>
  <inkml:trace contextRef="#ctx0" brushRef="#br0">1 2454,'5'4,"-1"0,0 0,0 0,2-1,-1 0,-1-2,1 3,1-4,-2 0,1 1,0 1,2-2,6 2,37 8,-2-4,0-4,1-2,0-3,25-10,76-19,16-16,42-11,693-121,-532 111,-77 17,71-15,265-98,-91-39,239-76,90 36,115-36,-458 121,435-46,1038 34,-1402 138,1695-86,-1209 59,-172 4,5 52,-809 8,1340 64,-5 69,-1067-83,-1 23,7 26,-196-42,-2 11,-6 9,0 13,-4 8,12 22,-105-66,-2 2,-1 8,-3 2,-3 5,0 4,25 47,-66-88,-2 3,1 2,-4 1,-2 1,0 0,-1 3,-2 0,-1 0,-2 4,-2-1,-3 0,2 1,-5 1,-2 0,3 46,-7-43,-1-1,-3 1,0-2,-3 1,-1-2,-3 2,1 0,-6 2,-4 11,-4-3,1 1,-4-5,-1 0,-32 53,0-18,-2-3,-5-4,-1-5,-4-2,-1-5,-82 62,35-43,-5-11,-2-5,-4-8,-95 32,-553 165,630-222,-1082 309,-10-93,801-193,-980 181,-652 249,1521-360,-1589 537,1052-246,520-200,-693 327,1181-519,-1267 685,1031-529,5 19,9 21,-38 57,205-164,2 9,7 9,2 7,8 7,-54 99,140-211,2 2,4 1,0 1,2 4,2-1,-15 53,30-87,-2 3,3-3,0 2,1-2,1 3,0 0,1-2,1 2,0-2,1 1,1 1,0-1,1-2,1 3,1-3,1 2,-1-2,2-1,1 0,0 2,6 8,2 1,2-3,0 0,1 0,0-4,2 1,0-3,1-1,20 15,18 12,4-3,2-5,10 2,53 22,2-11,1-8,2-5,128 10,82-14,128-22,762-59,5-68,-738 63,2062-240,-1174 60,-6-67,-959 204,1712-465,-1795 464,1742-440,-1588 416,1383-292,10 65,1431-86,-3316 431,709-36,-444 39,173 34,-397-29,-28-5,-23-3,6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5760" units="cm"/>
          <inkml:channel name="Y" type="integer" min="-196" max="1096" units="cm"/>
          <inkml:channel name="T" type="integer" max="2.14748E9" units="dev"/>
        </inkml:traceFormat>
        <inkml:channelProperties>
          <inkml:channelProperty channel="X" name="resolution" value="186.40776" units="1/cm"/>
          <inkml:channelProperty channel="Y" name="resolution" value="74.25288" units="1/cm"/>
          <inkml:channelProperty channel="T" name="resolution" value="1" units="1/dev"/>
        </inkml:channelProperties>
      </inkml:inkSource>
      <inkml:timestamp xml:id="ts0" timeString="2021-04-22T11:31:19.75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388 9578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5760" units="cm"/>
          <inkml:channel name="Y" type="integer" min="-196" max="1096" units="cm"/>
          <inkml:channel name="T" type="integer" max="2.14748E9" units="dev"/>
        </inkml:traceFormat>
        <inkml:channelProperties>
          <inkml:channelProperty channel="X" name="resolution" value="186.40776" units="1/cm"/>
          <inkml:channelProperty channel="Y" name="resolution" value="74.25288" units="1/cm"/>
          <inkml:channelProperty channel="T" name="resolution" value="1" units="1/dev"/>
        </inkml:channelProperties>
      </inkml:inkSource>
      <inkml:timestamp xml:id="ts0" timeString="2021-04-22T11:31:19.75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388 9578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5760" units="cm"/>
          <inkml:channel name="Y" type="integer" min="-196" max="1096" units="cm"/>
          <inkml:channel name="T" type="integer" max="2.14748E9" units="dev"/>
        </inkml:traceFormat>
        <inkml:channelProperties>
          <inkml:channelProperty channel="X" name="resolution" value="186.40776" units="1/cm"/>
          <inkml:channelProperty channel="Y" name="resolution" value="74.25288" units="1/cm"/>
          <inkml:channelProperty channel="T" name="resolution" value="1" units="1/dev"/>
        </inkml:channelProperties>
      </inkml:inkSource>
      <inkml:timestamp xml:id="ts0" timeString="2021-04-22T11:31:19.75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388 9578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352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665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0777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0010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6127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2931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8930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8520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E183B9-F656-48B6-943E-5D1C1A77CD1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88796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E183B9-F656-48B6-943E-5D1C1A77CD1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997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898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E183B9-F656-48B6-943E-5D1C1A77CD1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146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50428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20878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1250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21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137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9997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6645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E9826-A35B-49DD-8A3F-454B7E60E108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2494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68084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029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6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E05C08-5923-41E0-B0F2-DE3C60CBE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8596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E05C08-5923-41E0-B0F2-DE3C60CBE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6D172-2F8C-4641-A06B-ABD78145BF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397785"/>
            <a:ext cx="11224996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02862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65684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1586994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Prosjektidé til Prosjektavslutning</a:t>
            </a:r>
          </a:p>
        </p:txBody>
      </p: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03800323"/>
              </p:ext>
            </p:extLst>
          </p:nvPr>
        </p:nvGraphicFramePr>
        <p:xfrm>
          <a:off x="8674902" y="1801296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e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le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økon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ystem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ress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øknadsregistrer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543497" y="2906287"/>
            <a:ext cx="125412" cy="16052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60762284"/>
              </p:ext>
            </p:extLst>
          </p:nvPr>
        </p:nvGraphicFramePr>
        <p:xfrm>
          <a:off x="10335245" y="1811419"/>
          <a:ext cx="1705872" cy="19206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Faktura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 err="1"/>
                        <a:t>Kunderegistrerer</a:t>
                      </a:r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ilagsbehand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49499" y="2431378"/>
            <a:ext cx="212555" cy="225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75514" y="2652066"/>
            <a:ext cx="160527" cy="190625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6A4408C-846E-4EC1-AB4B-B7115CE625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768181"/>
            <a:ext cx="216303" cy="229415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F0132DC-E209-48C1-9B43-2F2970CD7F1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995802"/>
            <a:ext cx="216303" cy="229415"/>
          </a:xfrm>
          <a:prstGeom prst="rect">
            <a:avLst/>
          </a:prstGeom>
        </p:spPr>
      </p:pic>
      <p:pic>
        <p:nvPicPr>
          <p:cNvPr id="43" name="Picture 42" descr="A picture containing clock&#10;&#10;Description automatically generated">
            <a:extLst>
              <a:ext uri="{FF2B5EF4-FFF2-40B4-BE49-F238E27FC236}">
                <a16:creationId xmlns:a16="http://schemas.microsoft.com/office/drawing/2014/main" id="{8632E72F-7DA2-463A-9565-7AB5E2E2CA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223423"/>
            <a:ext cx="216303" cy="229415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E62124C-8F35-445F-A124-3364652AC2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451045"/>
            <a:ext cx="216303" cy="229415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C69A7F78-771D-44AB-9F9E-4AA30658598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626" y="1761305"/>
            <a:ext cx="216303" cy="229415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019B735C-66AF-4DA9-84B5-CC3CD762E31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970" y="2004702"/>
            <a:ext cx="173615" cy="18413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A8E31D-6295-4413-9863-671CE94026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810" y="2183771"/>
            <a:ext cx="237933" cy="252356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F20A5A48-F715-41FD-9262-B92CA326EE8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678666"/>
            <a:ext cx="216303" cy="229415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7616EE9F-308B-49D8-B505-53F402B5F4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065021"/>
            <a:ext cx="216303" cy="229415"/>
          </a:xfrm>
          <a:prstGeom prst="rect">
            <a:avLst/>
          </a:prstGeom>
        </p:spPr>
      </p:pic>
      <p:pic>
        <p:nvPicPr>
          <p:cNvPr id="62" name="Picture 61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14CC527-A9EA-4F08-A6B6-8D0538D0776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292643"/>
            <a:ext cx="216303" cy="229415"/>
          </a:xfrm>
          <a:prstGeom prst="rect">
            <a:avLst/>
          </a:prstGeom>
        </p:spPr>
      </p:pic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719CF642-2603-4806-AF28-28757D4AE6A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3562456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8124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medium.com/productmanagement101/design-sprints-at-google-85ff62fed5f8" TargetMode="External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47.xml"/><Relationship Id="rId117" Type="http://schemas.openxmlformats.org/officeDocument/2006/relationships/tags" Target="../tags/tag138.xml"/><Relationship Id="rId21" Type="http://schemas.openxmlformats.org/officeDocument/2006/relationships/tags" Target="../tags/tag42.xml"/><Relationship Id="rId42" Type="http://schemas.openxmlformats.org/officeDocument/2006/relationships/tags" Target="../tags/tag63.xml"/><Relationship Id="rId47" Type="http://schemas.openxmlformats.org/officeDocument/2006/relationships/tags" Target="../tags/tag68.xml"/><Relationship Id="rId63" Type="http://schemas.openxmlformats.org/officeDocument/2006/relationships/tags" Target="../tags/tag84.xml"/><Relationship Id="rId68" Type="http://schemas.openxmlformats.org/officeDocument/2006/relationships/tags" Target="../tags/tag89.xml"/><Relationship Id="rId84" Type="http://schemas.openxmlformats.org/officeDocument/2006/relationships/tags" Target="../tags/tag105.xml"/><Relationship Id="rId89" Type="http://schemas.openxmlformats.org/officeDocument/2006/relationships/tags" Target="../tags/tag110.xml"/><Relationship Id="rId112" Type="http://schemas.openxmlformats.org/officeDocument/2006/relationships/tags" Target="../tags/tag133.xml"/><Relationship Id="rId133" Type="http://schemas.openxmlformats.org/officeDocument/2006/relationships/tags" Target="../tags/tag154.xml"/><Relationship Id="rId138" Type="http://schemas.openxmlformats.org/officeDocument/2006/relationships/tags" Target="../tags/tag159.xml"/><Relationship Id="rId154" Type="http://schemas.openxmlformats.org/officeDocument/2006/relationships/tags" Target="../tags/tag175.xml"/><Relationship Id="rId159" Type="http://schemas.openxmlformats.org/officeDocument/2006/relationships/tags" Target="../tags/tag180.xml"/><Relationship Id="rId170" Type="http://schemas.openxmlformats.org/officeDocument/2006/relationships/image" Target="../media/image1.emf"/><Relationship Id="rId16" Type="http://schemas.openxmlformats.org/officeDocument/2006/relationships/tags" Target="../tags/tag37.xml"/><Relationship Id="rId107" Type="http://schemas.openxmlformats.org/officeDocument/2006/relationships/tags" Target="../tags/tag128.xml"/><Relationship Id="rId11" Type="http://schemas.openxmlformats.org/officeDocument/2006/relationships/tags" Target="../tags/tag32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53" Type="http://schemas.openxmlformats.org/officeDocument/2006/relationships/tags" Target="../tags/tag74.xml"/><Relationship Id="rId58" Type="http://schemas.openxmlformats.org/officeDocument/2006/relationships/tags" Target="../tags/tag79.xml"/><Relationship Id="rId74" Type="http://schemas.openxmlformats.org/officeDocument/2006/relationships/tags" Target="../tags/tag95.xml"/><Relationship Id="rId79" Type="http://schemas.openxmlformats.org/officeDocument/2006/relationships/tags" Target="../tags/tag100.xml"/><Relationship Id="rId102" Type="http://schemas.openxmlformats.org/officeDocument/2006/relationships/tags" Target="../tags/tag123.xml"/><Relationship Id="rId123" Type="http://schemas.openxmlformats.org/officeDocument/2006/relationships/tags" Target="../tags/tag144.xml"/><Relationship Id="rId128" Type="http://schemas.openxmlformats.org/officeDocument/2006/relationships/tags" Target="../tags/tag149.xml"/><Relationship Id="rId144" Type="http://schemas.openxmlformats.org/officeDocument/2006/relationships/tags" Target="../tags/tag165.xml"/><Relationship Id="rId149" Type="http://schemas.openxmlformats.org/officeDocument/2006/relationships/tags" Target="../tags/tag170.xml"/><Relationship Id="rId5" Type="http://schemas.openxmlformats.org/officeDocument/2006/relationships/tags" Target="../tags/tag26.xml"/><Relationship Id="rId90" Type="http://schemas.openxmlformats.org/officeDocument/2006/relationships/tags" Target="../tags/tag111.xml"/><Relationship Id="rId95" Type="http://schemas.openxmlformats.org/officeDocument/2006/relationships/tags" Target="../tags/tag116.xml"/><Relationship Id="rId160" Type="http://schemas.openxmlformats.org/officeDocument/2006/relationships/tags" Target="../tags/tag181.xml"/><Relationship Id="rId165" Type="http://schemas.openxmlformats.org/officeDocument/2006/relationships/tags" Target="../tags/tag186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43" Type="http://schemas.openxmlformats.org/officeDocument/2006/relationships/tags" Target="../tags/tag64.xml"/><Relationship Id="rId48" Type="http://schemas.openxmlformats.org/officeDocument/2006/relationships/tags" Target="../tags/tag69.xml"/><Relationship Id="rId64" Type="http://schemas.openxmlformats.org/officeDocument/2006/relationships/tags" Target="../tags/tag85.xml"/><Relationship Id="rId69" Type="http://schemas.openxmlformats.org/officeDocument/2006/relationships/tags" Target="../tags/tag90.xml"/><Relationship Id="rId113" Type="http://schemas.openxmlformats.org/officeDocument/2006/relationships/tags" Target="../tags/tag134.xml"/><Relationship Id="rId118" Type="http://schemas.openxmlformats.org/officeDocument/2006/relationships/tags" Target="../tags/tag139.xml"/><Relationship Id="rId134" Type="http://schemas.openxmlformats.org/officeDocument/2006/relationships/tags" Target="../tags/tag155.xml"/><Relationship Id="rId139" Type="http://schemas.openxmlformats.org/officeDocument/2006/relationships/tags" Target="../tags/tag160.xml"/><Relationship Id="rId80" Type="http://schemas.openxmlformats.org/officeDocument/2006/relationships/tags" Target="../tags/tag101.xml"/><Relationship Id="rId85" Type="http://schemas.openxmlformats.org/officeDocument/2006/relationships/tags" Target="../tags/tag106.xml"/><Relationship Id="rId150" Type="http://schemas.openxmlformats.org/officeDocument/2006/relationships/tags" Target="../tags/tag171.xml"/><Relationship Id="rId155" Type="http://schemas.openxmlformats.org/officeDocument/2006/relationships/tags" Target="../tags/tag176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59" Type="http://schemas.openxmlformats.org/officeDocument/2006/relationships/tags" Target="../tags/tag80.xml"/><Relationship Id="rId103" Type="http://schemas.openxmlformats.org/officeDocument/2006/relationships/tags" Target="../tags/tag124.xml"/><Relationship Id="rId108" Type="http://schemas.openxmlformats.org/officeDocument/2006/relationships/tags" Target="../tags/tag129.xml"/><Relationship Id="rId124" Type="http://schemas.openxmlformats.org/officeDocument/2006/relationships/tags" Target="../tags/tag145.xml"/><Relationship Id="rId129" Type="http://schemas.openxmlformats.org/officeDocument/2006/relationships/tags" Target="../tags/tag150.xml"/><Relationship Id="rId54" Type="http://schemas.openxmlformats.org/officeDocument/2006/relationships/tags" Target="../tags/tag75.xml"/><Relationship Id="rId70" Type="http://schemas.openxmlformats.org/officeDocument/2006/relationships/tags" Target="../tags/tag91.xml"/><Relationship Id="rId75" Type="http://schemas.openxmlformats.org/officeDocument/2006/relationships/tags" Target="../tags/tag96.xml"/><Relationship Id="rId91" Type="http://schemas.openxmlformats.org/officeDocument/2006/relationships/tags" Target="../tags/tag112.xml"/><Relationship Id="rId96" Type="http://schemas.openxmlformats.org/officeDocument/2006/relationships/tags" Target="../tags/tag117.xml"/><Relationship Id="rId140" Type="http://schemas.openxmlformats.org/officeDocument/2006/relationships/tags" Target="../tags/tag161.xml"/><Relationship Id="rId145" Type="http://schemas.openxmlformats.org/officeDocument/2006/relationships/tags" Target="../tags/tag166.xml"/><Relationship Id="rId161" Type="http://schemas.openxmlformats.org/officeDocument/2006/relationships/tags" Target="../tags/tag182.xml"/><Relationship Id="rId166" Type="http://schemas.openxmlformats.org/officeDocument/2006/relationships/tags" Target="../tags/tag18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7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tags" Target="../tags/tag70.xml"/><Relationship Id="rId57" Type="http://schemas.openxmlformats.org/officeDocument/2006/relationships/tags" Target="../tags/tag78.xml"/><Relationship Id="rId106" Type="http://schemas.openxmlformats.org/officeDocument/2006/relationships/tags" Target="../tags/tag127.xml"/><Relationship Id="rId114" Type="http://schemas.openxmlformats.org/officeDocument/2006/relationships/tags" Target="../tags/tag135.xml"/><Relationship Id="rId119" Type="http://schemas.openxmlformats.org/officeDocument/2006/relationships/tags" Target="../tags/tag140.xml"/><Relationship Id="rId127" Type="http://schemas.openxmlformats.org/officeDocument/2006/relationships/tags" Target="../tags/tag148.xml"/><Relationship Id="rId10" Type="http://schemas.openxmlformats.org/officeDocument/2006/relationships/tags" Target="../tags/tag31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52" Type="http://schemas.openxmlformats.org/officeDocument/2006/relationships/tags" Target="../tags/tag73.xml"/><Relationship Id="rId60" Type="http://schemas.openxmlformats.org/officeDocument/2006/relationships/tags" Target="../tags/tag81.xml"/><Relationship Id="rId65" Type="http://schemas.openxmlformats.org/officeDocument/2006/relationships/tags" Target="../tags/tag86.xml"/><Relationship Id="rId73" Type="http://schemas.openxmlformats.org/officeDocument/2006/relationships/tags" Target="../tags/tag94.xml"/><Relationship Id="rId78" Type="http://schemas.openxmlformats.org/officeDocument/2006/relationships/tags" Target="../tags/tag99.xml"/><Relationship Id="rId81" Type="http://schemas.openxmlformats.org/officeDocument/2006/relationships/tags" Target="../tags/tag102.xml"/><Relationship Id="rId86" Type="http://schemas.openxmlformats.org/officeDocument/2006/relationships/tags" Target="../tags/tag107.xml"/><Relationship Id="rId94" Type="http://schemas.openxmlformats.org/officeDocument/2006/relationships/tags" Target="../tags/tag115.xml"/><Relationship Id="rId99" Type="http://schemas.openxmlformats.org/officeDocument/2006/relationships/tags" Target="../tags/tag120.xml"/><Relationship Id="rId101" Type="http://schemas.openxmlformats.org/officeDocument/2006/relationships/tags" Target="../tags/tag122.xml"/><Relationship Id="rId122" Type="http://schemas.openxmlformats.org/officeDocument/2006/relationships/tags" Target="../tags/tag143.xml"/><Relationship Id="rId130" Type="http://schemas.openxmlformats.org/officeDocument/2006/relationships/tags" Target="../tags/tag151.xml"/><Relationship Id="rId135" Type="http://schemas.openxmlformats.org/officeDocument/2006/relationships/tags" Target="../tags/tag156.xml"/><Relationship Id="rId143" Type="http://schemas.openxmlformats.org/officeDocument/2006/relationships/tags" Target="../tags/tag164.xml"/><Relationship Id="rId148" Type="http://schemas.openxmlformats.org/officeDocument/2006/relationships/tags" Target="../tags/tag169.xml"/><Relationship Id="rId151" Type="http://schemas.openxmlformats.org/officeDocument/2006/relationships/tags" Target="../tags/tag172.xml"/><Relationship Id="rId156" Type="http://schemas.openxmlformats.org/officeDocument/2006/relationships/tags" Target="../tags/tag177.xml"/><Relationship Id="rId164" Type="http://schemas.openxmlformats.org/officeDocument/2006/relationships/tags" Target="../tags/tag185.xml"/><Relationship Id="rId169" Type="http://schemas.openxmlformats.org/officeDocument/2006/relationships/oleObject" Target="../embeddings/oleObject9.bin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39" Type="http://schemas.openxmlformats.org/officeDocument/2006/relationships/tags" Target="../tags/tag60.xml"/><Relationship Id="rId109" Type="http://schemas.openxmlformats.org/officeDocument/2006/relationships/tags" Target="../tags/tag130.xml"/><Relationship Id="rId34" Type="http://schemas.openxmlformats.org/officeDocument/2006/relationships/tags" Target="../tags/tag55.xml"/><Relationship Id="rId50" Type="http://schemas.openxmlformats.org/officeDocument/2006/relationships/tags" Target="../tags/tag71.xml"/><Relationship Id="rId55" Type="http://schemas.openxmlformats.org/officeDocument/2006/relationships/tags" Target="../tags/tag76.xml"/><Relationship Id="rId76" Type="http://schemas.openxmlformats.org/officeDocument/2006/relationships/tags" Target="../tags/tag97.xml"/><Relationship Id="rId97" Type="http://schemas.openxmlformats.org/officeDocument/2006/relationships/tags" Target="../tags/tag118.xml"/><Relationship Id="rId104" Type="http://schemas.openxmlformats.org/officeDocument/2006/relationships/tags" Target="../tags/tag125.xml"/><Relationship Id="rId120" Type="http://schemas.openxmlformats.org/officeDocument/2006/relationships/tags" Target="../tags/tag141.xml"/><Relationship Id="rId125" Type="http://schemas.openxmlformats.org/officeDocument/2006/relationships/tags" Target="../tags/tag146.xml"/><Relationship Id="rId141" Type="http://schemas.openxmlformats.org/officeDocument/2006/relationships/tags" Target="../tags/tag162.xml"/><Relationship Id="rId146" Type="http://schemas.openxmlformats.org/officeDocument/2006/relationships/tags" Target="../tags/tag167.xml"/><Relationship Id="rId167" Type="http://schemas.openxmlformats.org/officeDocument/2006/relationships/slideLayout" Target="../slideLayouts/slideLayout6.xml"/><Relationship Id="rId7" Type="http://schemas.openxmlformats.org/officeDocument/2006/relationships/tags" Target="../tags/tag28.xml"/><Relationship Id="rId71" Type="http://schemas.openxmlformats.org/officeDocument/2006/relationships/tags" Target="../tags/tag92.xml"/><Relationship Id="rId92" Type="http://schemas.openxmlformats.org/officeDocument/2006/relationships/tags" Target="../tags/tag113.xml"/><Relationship Id="rId162" Type="http://schemas.openxmlformats.org/officeDocument/2006/relationships/tags" Target="../tags/tag183.xml"/><Relationship Id="rId2" Type="http://schemas.openxmlformats.org/officeDocument/2006/relationships/tags" Target="../tags/tag23.xml"/><Relationship Id="rId29" Type="http://schemas.openxmlformats.org/officeDocument/2006/relationships/tags" Target="../tags/tag50.xml"/><Relationship Id="rId24" Type="http://schemas.openxmlformats.org/officeDocument/2006/relationships/tags" Target="../tags/tag45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66" Type="http://schemas.openxmlformats.org/officeDocument/2006/relationships/tags" Target="../tags/tag87.xml"/><Relationship Id="rId87" Type="http://schemas.openxmlformats.org/officeDocument/2006/relationships/tags" Target="../tags/tag108.xml"/><Relationship Id="rId110" Type="http://schemas.openxmlformats.org/officeDocument/2006/relationships/tags" Target="../tags/tag131.xml"/><Relationship Id="rId115" Type="http://schemas.openxmlformats.org/officeDocument/2006/relationships/tags" Target="../tags/tag136.xml"/><Relationship Id="rId131" Type="http://schemas.openxmlformats.org/officeDocument/2006/relationships/tags" Target="../tags/tag152.xml"/><Relationship Id="rId136" Type="http://schemas.openxmlformats.org/officeDocument/2006/relationships/tags" Target="../tags/tag157.xml"/><Relationship Id="rId157" Type="http://schemas.openxmlformats.org/officeDocument/2006/relationships/tags" Target="../tags/tag178.xml"/><Relationship Id="rId61" Type="http://schemas.openxmlformats.org/officeDocument/2006/relationships/tags" Target="../tags/tag82.xml"/><Relationship Id="rId82" Type="http://schemas.openxmlformats.org/officeDocument/2006/relationships/tags" Target="../tags/tag103.xml"/><Relationship Id="rId152" Type="http://schemas.openxmlformats.org/officeDocument/2006/relationships/tags" Target="../tags/tag173.xml"/><Relationship Id="rId19" Type="http://schemas.openxmlformats.org/officeDocument/2006/relationships/tags" Target="../tags/tag40.xml"/><Relationship Id="rId14" Type="http://schemas.openxmlformats.org/officeDocument/2006/relationships/tags" Target="../tags/tag35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56" Type="http://schemas.openxmlformats.org/officeDocument/2006/relationships/tags" Target="../tags/tag77.xml"/><Relationship Id="rId77" Type="http://schemas.openxmlformats.org/officeDocument/2006/relationships/tags" Target="../tags/tag98.xml"/><Relationship Id="rId100" Type="http://schemas.openxmlformats.org/officeDocument/2006/relationships/tags" Target="../tags/tag121.xml"/><Relationship Id="rId105" Type="http://schemas.openxmlformats.org/officeDocument/2006/relationships/tags" Target="../tags/tag126.xml"/><Relationship Id="rId126" Type="http://schemas.openxmlformats.org/officeDocument/2006/relationships/tags" Target="../tags/tag147.xml"/><Relationship Id="rId147" Type="http://schemas.openxmlformats.org/officeDocument/2006/relationships/tags" Target="../tags/tag168.xml"/><Relationship Id="rId168" Type="http://schemas.openxmlformats.org/officeDocument/2006/relationships/notesSlide" Target="../notesSlides/notesSlide8.xml"/><Relationship Id="rId8" Type="http://schemas.openxmlformats.org/officeDocument/2006/relationships/tags" Target="../tags/tag29.xml"/><Relationship Id="rId51" Type="http://schemas.openxmlformats.org/officeDocument/2006/relationships/tags" Target="../tags/tag72.xml"/><Relationship Id="rId72" Type="http://schemas.openxmlformats.org/officeDocument/2006/relationships/tags" Target="../tags/tag93.xml"/><Relationship Id="rId93" Type="http://schemas.openxmlformats.org/officeDocument/2006/relationships/tags" Target="../tags/tag114.xml"/><Relationship Id="rId98" Type="http://schemas.openxmlformats.org/officeDocument/2006/relationships/tags" Target="../tags/tag119.xml"/><Relationship Id="rId121" Type="http://schemas.openxmlformats.org/officeDocument/2006/relationships/tags" Target="../tags/tag142.xml"/><Relationship Id="rId142" Type="http://schemas.openxmlformats.org/officeDocument/2006/relationships/tags" Target="../tags/tag163.xml"/><Relationship Id="rId163" Type="http://schemas.openxmlformats.org/officeDocument/2006/relationships/tags" Target="../tags/tag184.xml"/><Relationship Id="rId3" Type="http://schemas.openxmlformats.org/officeDocument/2006/relationships/tags" Target="../tags/tag24.xml"/><Relationship Id="rId25" Type="http://schemas.openxmlformats.org/officeDocument/2006/relationships/tags" Target="../tags/tag46.xml"/><Relationship Id="rId46" Type="http://schemas.openxmlformats.org/officeDocument/2006/relationships/tags" Target="../tags/tag67.xml"/><Relationship Id="rId67" Type="http://schemas.openxmlformats.org/officeDocument/2006/relationships/tags" Target="../tags/tag88.xml"/><Relationship Id="rId116" Type="http://schemas.openxmlformats.org/officeDocument/2006/relationships/tags" Target="../tags/tag137.xml"/><Relationship Id="rId137" Type="http://schemas.openxmlformats.org/officeDocument/2006/relationships/tags" Target="../tags/tag158.xml"/><Relationship Id="rId158" Type="http://schemas.openxmlformats.org/officeDocument/2006/relationships/tags" Target="../tags/tag179.xml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62" Type="http://schemas.openxmlformats.org/officeDocument/2006/relationships/tags" Target="../tags/tag83.xml"/><Relationship Id="rId83" Type="http://schemas.openxmlformats.org/officeDocument/2006/relationships/tags" Target="../tags/tag104.xml"/><Relationship Id="rId88" Type="http://schemas.openxmlformats.org/officeDocument/2006/relationships/tags" Target="../tags/tag109.xml"/><Relationship Id="rId111" Type="http://schemas.openxmlformats.org/officeDocument/2006/relationships/tags" Target="../tags/tag132.xml"/><Relationship Id="rId132" Type="http://schemas.openxmlformats.org/officeDocument/2006/relationships/tags" Target="../tags/tag153.xml"/><Relationship Id="rId153" Type="http://schemas.openxmlformats.org/officeDocument/2006/relationships/tags" Target="../tags/tag17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89.xml"/><Relationship Id="rId7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1.xml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0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02.xml"/><Relationship Id="rId7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1.xml.rels><?xml version="1.0" encoding="UTF-8" standalone="yes"?>
<Relationships xmlns="http://schemas.openxmlformats.org/package/2006/relationships"><Relationship Id="rId26" Type="http://schemas.openxmlformats.org/officeDocument/2006/relationships/tags" Target="../tags/tag228.xml"/><Relationship Id="rId117" Type="http://schemas.openxmlformats.org/officeDocument/2006/relationships/tags" Target="../tags/tag319.xml"/><Relationship Id="rId21" Type="http://schemas.openxmlformats.org/officeDocument/2006/relationships/tags" Target="../tags/tag223.xml"/><Relationship Id="rId42" Type="http://schemas.openxmlformats.org/officeDocument/2006/relationships/tags" Target="../tags/tag244.xml"/><Relationship Id="rId47" Type="http://schemas.openxmlformats.org/officeDocument/2006/relationships/tags" Target="../tags/tag249.xml"/><Relationship Id="rId63" Type="http://schemas.openxmlformats.org/officeDocument/2006/relationships/tags" Target="../tags/tag265.xml"/><Relationship Id="rId68" Type="http://schemas.openxmlformats.org/officeDocument/2006/relationships/tags" Target="../tags/tag270.xml"/><Relationship Id="rId84" Type="http://schemas.openxmlformats.org/officeDocument/2006/relationships/tags" Target="../tags/tag286.xml"/><Relationship Id="rId89" Type="http://schemas.openxmlformats.org/officeDocument/2006/relationships/tags" Target="../tags/tag291.xml"/><Relationship Id="rId112" Type="http://schemas.openxmlformats.org/officeDocument/2006/relationships/tags" Target="../tags/tag314.xml"/><Relationship Id="rId133" Type="http://schemas.openxmlformats.org/officeDocument/2006/relationships/tags" Target="../tags/tag335.xml"/><Relationship Id="rId138" Type="http://schemas.openxmlformats.org/officeDocument/2006/relationships/customXml" Target="../ink/ink2.xml"/><Relationship Id="rId16" Type="http://schemas.openxmlformats.org/officeDocument/2006/relationships/tags" Target="../tags/tag218.xml"/><Relationship Id="rId107" Type="http://schemas.openxmlformats.org/officeDocument/2006/relationships/tags" Target="../tags/tag309.xml"/><Relationship Id="rId11" Type="http://schemas.openxmlformats.org/officeDocument/2006/relationships/tags" Target="../tags/tag213.xml"/><Relationship Id="rId32" Type="http://schemas.openxmlformats.org/officeDocument/2006/relationships/tags" Target="../tags/tag234.xml"/><Relationship Id="rId37" Type="http://schemas.openxmlformats.org/officeDocument/2006/relationships/tags" Target="../tags/tag239.xml"/><Relationship Id="rId53" Type="http://schemas.openxmlformats.org/officeDocument/2006/relationships/tags" Target="../tags/tag255.xml"/><Relationship Id="rId58" Type="http://schemas.openxmlformats.org/officeDocument/2006/relationships/tags" Target="../tags/tag260.xml"/><Relationship Id="rId74" Type="http://schemas.openxmlformats.org/officeDocument/2006/relationships/tags" Target="../tags/tag276.xml"/><Relationship Id="rId79" Type="http://schemas.openxmlformats.org/officeDocument/2006/relationships/tags" Target="../tags/tag281.xml"/><Relationship Id="rId102" Type="http://schemas.openxmlformats.org/officeDocument/2006/relationships/tags" Target="../tags/tag304.xml"/><Relationship Id="rId123" Type="http://schemas.openxmlformats.org/officeDocument/2006/relationships/tags" Target="../tags/tag325.xml"/><Relationship Id="rId128" Type="http://schemas.openxmlformats.org/officeDocument/2006/relationships/tags" Target="../tags/tag330.xml"/><Relationship Id="rId5" Type="http://schemas.openxmlformats.org/officeDocument/2006/relationships/tags" Target="../tags/tag207.xml"/><Relationship Id="rId90" Type="http://schemas.openxmlformats.org/officeDocument/2006/relationships/tags" Target="../tags/tag292.xml"/><Relationship Id="rId95" Type="http://schemas.openxmlformats.org/officeDocument/2006/relationships/tags" Target="../tags/tag297.xml"/><Relationship Id="rId22" Type="http://schemas.openxmlformats.org/officeDocument/2006/relationships/tags" Target="../tags/tag224.xml"/><Relationship Id="rId27" Type="http://schemas.openxmlformats.org/officeDocument/2006/relationships/tags" Target="../tags/tag229.xml"/><Relationship Id="rId43" Type="http://schemas.openxmlformats.org/officeDocument/2006/relationships/tags" Target="../tags/tag245.xml"/><Relationship Id="rId48" Type="http://schemas.openxmlformats.org/officeDocument/2006/relationships/tags" Target="../tags/tag250.xml"/><Relationship Id="rId64" Type="http://schemas.openxmlformats.org/officeDocument/2006/relationships/tags" Target="../tags/tag266.xml"/><Relationship Id="rId69" Type="http://schemas.openxmlformats.org/officeDocument/2006/relationships/tags" Target="../tags/tag271.xml"/><Relationship Id="rId113" Type="http://schemas.openxmlformats.org/officeDocument/2006/relationships/tags" Target="../tags/tag315.xml"/><Relationship Id="rId118" Type="http://schemas.openxmlformats.org/officeDocument/2006/relationships/tags" Target="../tags/tag320.xml"/><Relationship Id="rId134" Type="http://schemas.openxmlformats.org/officeDocument/2006/relationships/slideLayout" Target="../slideLayouts/slideLayout7.xml"/><Relationship Id="rId139" Type="http://schemas.openxmlformats.org/officeDocument/2006/relationships/image" Target="../media/image43.png"/><Relationship Id="rId8" Type="http://schemas.openxmlformats.org/officeDocument/2006/relationships/tags" Target="../tags/tag210.xml"/><Relationship Id="rId51" Type="http://schemas.openxmlformats.org/officeDocument/2006/relationships/tags" Target="../tags/tag253.xml"/><Relationship Id="rId72" Type="http://schemas.openxmlformats.org/officeDocument/2006/relationships/tags" Target="../tags/tag274.xml"/><Relationship Id="rId80" Type="http://schemas.openxmlformats.org/officeDocument/2006/relationships/tags" Target="../tags/tag282.xml"/><Relationship Id="rId85" Type="http://schemas.openxmlformats.org/officeDocument/2006/relationships/tags" Target="../tags/tag287.xml"/><Relationship Id="rId93" Type="http://schemas.openxmlformats.org/officeDocument/2006/relationships/tags" Target="../tags/tag295.xml"/><Relationship Id="rId98" Type="http://schemas.openxmlformats.org/officeDocument/2006/relationships/tags" Target="../tags/tag300.xml"/><Relationship Id="rId121" Type="http://schemas.openxmlformats.org/officeDocument/2006/relationships/tags" Target="../tags/tag323.xml"/><Relationship Id="rId3" Type="http://schemas.openxmlformats.org/officeDocument/2006/relationships/tags" Target="../tags/tag205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5" Type="http://schemas.openxmlformats.org/officeDocument/2006/relationships/tags" Target="../tags/tag227.xml"/><Relationship Id="rId33" Type="http://schemas.openxmlformats.org/officeDocument/2006/relationships/tags" Target="../tags/tag235.xml"/><Relationship Id="rId38" Type="http://schemas.openxmlformats.org/officeDocument/2006/relationships/tags" Target="../tags/tag240.xml"/><Relationship Id="rId46" Type="http://schemas.openxmlformats.org/officeDocument/2006/relationships/tags" Target="../tags/tag248.xml"/><Relationship Id="rId59" Type="http://schemas.openxmlformats.org/officeDocument/2006/relationships/tags" Target="../tags/tag261.xml"/><Relationship Id="rId67" Type="http://schemas.openxmlformats.org/officeDocument/2006/relationships/tags" Target="../tags/tag269.xml"/><Relationship Id="rId103" Type="http://schemas.openxmlformats.org/officeDocument/2006/relationships/tags" Target="../tags/tag305.xml"/><Relationship Id="rId108" Type="http://schemas.openxmlformats.org/officeDocument/2006/relationships/tags" Target="../tags/tag310.xml"/><Relationship Id="rId116" Type="http://schemas.openxmlformats.org/officeDocument/2006/relationships/tags" Target="../tags/tag318.xml"/><Relationship Id="rId124" Type="http://schemas.openxmlformats.org/officeDocument/2006/relationships/tags" Target="../tags/tag326.xml"/><Relationship Id="rId129" Type="http://schemas.openxmlformats.org/officeDocument/2006/relationships/tags" Target="../tags/tag331.xml"/><Relationship Id="rId137" Type="http://schemas.openxmlformats.org/officeDocument/2006/relationships/image" Target="../media/image1.emf"/><Relationship Id="rId20" Type="http://schemas.openxmlformats.org/officeDocument/2006/relationships/tags" Target="../tags/tag222.xml"/><Relationship Id="rId41" Type="http://schemas.openxmlformats.org/officeDocument/2006/relationships/tags" Target="../tags/tag243.xml"/><Relationship Id="rId54" Type="http://schemas.openxmlformats.org/officeDocument/2006/relationships/tags" Target="../tags/tag256.xml"/><Relationship Id="rId62" Type="http://schemas.openxmlformats.org/officeDocument/2006/relationships/tags" Target="../tags/tag264.xml"/><Relationship Id="rId70" Type="http://schemas.openxmlformats.org/officeDocument/2006/relationships/tags" Target="../tags/tag272.xml"/><Relationship Id="rId75" Type="http://schemas.openxmlformats.org/officeDocument/2006/relationships/tags" Target="../tags/tag277.xml"/><Relationship Id="rId83" Type="http://schemas.openxmlformats.org/officeDocument/2006/relationships/tags" Target="../tags/tag285.xml"/><Relationship Id="rId88" Type="http://schemas.openxmlformats.org/officeDocument/2006/relationships/tags" Target="../tags/tag290.xml"/><Relationship Id="rId91" Type="http://schemas.openxmlformats.org/officeDocument/2006/relationships/tags" Target="../tags/tag293.xml"/><Relationship Id="rId96" Type="http://schemas.openxmlformats.org/officeDocument/2006/relationships/tags" Target="../tags/tag298.xml"/><Relationship Id="rId111" Type="http://schemas.openxmlformats.org/officeDocument/2006/relationships/tags" Target="../tags/tag313.xml"/><Relationship Id="rId132" Type="http://schemas.openxmlformats.org/officeDocument/2006/relationships/tags" Target="../tags/tag33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08.xml"/><Relationship Id="rId15" Type="http://schemas.openxmlformats.org/officeDocument/2006/relationships/tags" Target="../tags/tag217.xml"/><Relationship Id="rId23" Type="http://schemas.openxmlformats.org/officeDocument/2006/relationships/tags" Target="../tags/tag225.xml"/><Relationship Id="rId28" Type="http://schemas.openxmlformats.org/officeDocument/2006/relationships/tags" Target="../tags/tag230.xml"/><Relationship Id="rId36" Type="http://schemas.openxmlformats.org/officeDocument/2006/relationships/tags" Target="../tags/tag238.xml"/><Relationship Id="rId49" Type="http://schemas.openxmlformats.org/officeDocument/2006/relationships/tags" Target="../tags/tag251.xml"/><Relationship Id="rId57" Type="http://schemas.openxmlformats.org/officeDocument/2006/relationships/tags" Target="../tags/tag259.xml"/><Relationship Id="rId106" Type="http://schemas.openxmlformats.org/officeDocument/2006/relationships/tags" Target="../tags/tag308.xml"/><Relationship Id="rId114" Type="http://schemas.openxmlformats.org/officeDocument/2006/relationships/tags" Target="../tags/tag316.xml"/><Relationship Id="rId119" Type="http://schemas.openxmlformats.org/officeDocument/2006/relationships/tags" Target="../tags/tag321.xml"/><Relationship Id="rId127" Type="http://schemas.openxmlformats.org/officeDocument/2006/relationships/tags" Target="../tags/tag329.xml"/><Relationship Id="rId10" Type="http://schemas.openxmlformats.org/officeDocument/2006/relationships/tags" Target="../tags/tag212.xml"/><Relationship Id="rId31" Type="http://schemas.openxmlformats.org/officeDocument/2006/relationships/tags" Target="../tags/tag233.xml"/><Relationship Id="rId44" Type="http://schemas.openxmlformats.org/officeDocument/2006/relationships/tags" Target="../tags/tag246.xml"/><Relationship Id="rId52" Type="http://schemas.openxmlformats.org/officeDocument/2006/relationships/tags" Target="../tags/tag254.xml"/><Relationship Id="rId60" Type="http://schemas.openxmlformats.org/officeDocument/2006/relationships/tags" Target="../tags/tag262.xml"/><Relationship Id="rId65" Type="http://schemas.openxmlformats.org/officeDocument/2006/relationships/tags" Target="../tags/tag267.xml"/><Relationship Id="rId73" Type="http://schemas.openxmlformats.org/officeDocument/2006/relationships/tags" Target="../tags/tag275.xml"/><Relationship Id="rId78" Type="http://schemas.openxmlformats.org/officeDocument/2006/relationships/tags" Target="../tags/tag280.xml"/><Relationship Id="rId81" Type="http://schemas.openxmlformats.org/officeDocument/2006/relationships/tags" Target="../tags/tag283.xml"/><Relationship Id="rId86" Type="http://schemas.openxmlformats.org/officeDocument/2006/relationships/tags" Target="../tags/tag288.xml"/><Relationship Id="rId94" Type="http://schemas.openxmlformats.org/officeDocument/2006/relationships/tags" Target="../tags/tag296.xml"/><Relationship Id="rId99" Type="http://schemas.openxmlformats.org/officeDocument/2006/relationships/tags" Target="../tags/tag301.xml"/><Relationship Id="rId101" Type="http://schemas.openxmlformats.org/officeDocument/2006/relationships/tags" Target="../tags/tag303.xml"/><Relationship Id="rId122" Type="http://schemas.openxmlformats.org/officeDocument/2006/relationships/tags" Target="../tags/tag324.xml"/><Relationship Id="rId130" Type="http://schemas.openxmlformats.org/officeDocument/2006/relationships/tags" Target="../tags/tag332.xml"/><Relationship Id="rId135" Type="http://schemas.openxmlformats.org/officeDocument/2006/relationships/notesSlide" Target="../notesSlides/notesSlide18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39" Type="http://schemas.openxmlformats.org/officeDocument/2006/relationships/tags" Target="../tags/tag241.xml"/><Relationship Id="rId109" Type="http://schemas.openxmlformats.org/officeDocument/2006/relationships/tags" Target="../tags/tag311.xml"/><Relationship Id="rId34" Type="http://schemas.openxmlformats.org/officeDocument/2006/relationships/tags" Target="../tags/tag236.xml"/><Relationship Id="rId50" Type="http://schemas.openxmlformats.org/officeDocument/2006/relationships/tags" Target="../tags/tag252.xml"/><Relationship Id="rId55" Type="http://schemas.openxmlformats.org/officeDocument/2006/relationships/tags" Target="../tags/tag257.xml"/><Relationship Id="rId76" Type="http://schemas.openxmlformats.org/officeDocument/2006/relationships/tags" Target="../tags/tag278.xml"/><Relationship Id="rId97" Type="http://schemas.openxmlformats.org/officeDocument/2006/relationships/tags" Target="../tags/tag299.xml"/><Relationship Id="rId104" Type="http://schemas.openxmlformats.org/officeDocument/2006/relationships/tags" Target="../tags/tag306.xml"/><Relationship Id="rId120" Type="http://schemas.openxmlformats.org/officeDocument/2006/relationships/tags" Target="../tags/tag322.xml"/><Relationship Id="rId125" Type="http://schemas.openxmlformats.org/officeDocument/2006/relationships/tags" Target="../tags/tag327.xml"/><Relationship Id="rId7" Type="http://schemas.openxmlformats.org/officeDocument/2006/relationships/tags" Target="../tags/tag209.xml"/><Relationship Id="rId71" Type="http://schemas.openxmlformats.org/officeDocument/2006/relationships/tags" Target="../tags/tag273.xml"/><Relationship Id="rId92" Type="http://schemas.openxmlformats.org/officeDocument/2006/relationships/tags" Target="../tags/tag294.xml"/><Relationship Id="rId2" Type="http://schemas.openxmlformats.org/officeDocument/2006/relationships/tags" Target="../tags/tag204.xml"/><Relationship Id="rId29" Type="http://schemas.openxmlformats.org/officeDocument/2006/relationships/tags" Target="../tags/tag231.xml"/><Relationship Id="rId24" Type="http://schemas.openxmlformats.org/officeDocument/2006/relationships/tags" Target="../tags/tag226.xml"/><Relationship Id="rId40" Type="http://schemas.openxmlformats.org/officeDocument/2006/relationships/tags" Target="../tags/tag242.xml"/><Relationship Id="rId45" Type="http://schemas.openxmlformats.org/officeDocument/2006/relationships/tags" Target="../tags/tag247.xml"/><Relationship Id="rId66" Type="http://schemas.openxmlformats.org/officeDocument/2006/relationships/tags" Target="../tags/tag268.xml"/><Relationship Id="rId87" Type="http://schemas.openxmlformats.org/officeDocument/2006/relationships/tags" Target="../tags/tag289.xml"/><Relationship Id="rId110" Type="http://schemas.openxmlformats.org/officeDocument/2006/relationships/tags" Target="../tags/tag312.xml"/><Relationship Id="rId115" Type="http://schemas.openxmlformats.org/officeDocument/2006/relationships/tags" Target="../tags/tag317.xml"/><Relationship Id="rId131" Type="http://schemas.openxmlformats.org/officeDocument/2006/relationships/tags" Target="../tags/tag333.xml"/><Relationship Id="rId136" Type="http://schemas.openxmlformats.org/officeDocument/2006/relationships/oleObject" Target="../embeddings/oleObject20.bin"/><Relationship Id="rId61" Type="http://schemas.openxmlformats.org/officeDocument/2006/relationships/tags" Target="../tags/tag263.xml"/><Relationship Id="rId82" Type="http://schemas.openxmlformats.org/officeDocument/2006/relationships/tags" Target="../tags/tag284.xml"/><Relationship Id="rId19" Type="http://schemas.openxmlformats.org/officeDocument/2006/relationships/tags" Target="../tags/tag221.xml"/><Relationship Id="rId14" Type="http://schemas.openxmlformats.org/officeDocument/2006/relationships/tags" Target="../tags/tag216.xml"/><Relationship Id="rId30" Type="http://schemas.openxmlformats.org/officeDocument/2006/relationships/tags" Target="../tags/tag232.xml"/><Relationship Id="rId35" Type="http://schemas.openxmlformats.org/officeDocument/2006/relationships/tags" Target="../tags/tag237.xml"/><Relationship Id="rId56" Type="http://schemas.openxmlformats.org/officeDocument/2006/relationships/tags" Target="../tags/tag258.xml"/><Relationship Id="rId77" Type="http://schemas.openxmlformats.org/officeDocument/2006/relationships/tags" Target="../tags/tag279.xml"/><Relationship Id="rId100" Type="http://schemas.openxmlformats.org/officeDocument/2006/relationships/tags" Target="../tags/tag302.xml"/><Relationship Id="rId105" Type="http://schemas.openxmlformats.org/officeDocument/2006/relationships/tags" Target="../tags/tag307.xml"/><Relationship Id="rId126" Type="http://schemas.openxmlformats.org/officeDocument/2006/relationships/tags" Target="../tags/tag328.xml"/></Relationships>
</file>

<file path=ppt/slides/_rels/slide32.xml.rels><?xml version="1.0" encoding="UTF-8" standalone="yes"?>
<Relationships xmlns="http://schemas.openxmlformats.org/package/2006/relationships"><Relationship Id="rId26" Type="http://schemas.openxmlformats.org/officeDocument/2006/relationships/tags" Target="../tags/tag360.xml"/><Relationship Id="rId117" Type="http://schemas.openxmlformats.org/officeDocument/2006/relationships/tags" Target="../tags/tag451.xml"/><Relationship Id="rId21" Type="http://schemas.openxmlformats.org/officeDocument/2006/relationships/tags" Target="../tags/tag355.xml"/><Relationship Id="rId42" Type="http://schemas.openxmlformats.org/officeDocument/2006/relationships/tags" Target="../tags/tag376.xml"/><Relationship Id="rId47" Type="http://schemas.openxmlformats.org/officeDocument/2006/relationships/tags" Target="../tags/tag381.xml"/><Relationship Id="rId63" Type="http://schemas.openxmlformats.org/officeDocument/2006/relationships/tags" Target="../tags/tag397.xml"/><Relationship Id="rId68" Type="http://schemas.openxmlformats.org/officeDocument/2006/relationships/tags" Target="../tags/tag402.xml"/><Relationship Id="rId84" Type="http://schemas.openxmlformats.org/officeDocument/2006/relationships/tags" Target="../tags/tag418.xml"/><Relationship Id="rId89" Type="http://schemas.openxmlformats.org/officeDocument/2006/relationships/tags" Target="../tags/tag423.xml"/><Relationship Id="rId112" Type="http://schemas.openxmlformats.org/officeDocument/2006/relationships/tags" Target="../tags/tag446.xml"/><Relationship Id="rId133" Type="http://schemas.openxmlformats.org/officeDocument/2006/relationships/tags" Target="../tags/tag467.xml"/><Relationship Id="rId138" Type="http://schemas.openxmlformats.org/officeDocument/2006/relationships/customXml" Target="../ink/ink3.xml"/><Relationship Id="rId16" Type="http://schemas.openxmlformats.org/officeDocument/2006/relationships/tags" Target="../tags/tag350.xml"/><Relationship Id="rId107" Type="http://schemas.openxmlformats.org/officeDocument/2006/relationships/tags" Target="../tags/tag441.xml"/><Relationship Id="rId11" Type="http://schemas.openxmlformats.org/officeDocument/2006/relationships/tags" Target="../tags/tag345.xml"/><Relationship Id="rId32" Type="http://schemas.openxmlformats.org/officeDocument/2006/relationships/tags" Target="../tags/tag366.xml"/><Relationship Id="rId37" Type="http://schemas.openxmlformats.org/officeDocument/2006/relationships/tags" Target="../tags/tag371.xml"/><Relationship Id="rId53" Type="http://schemas.openxmlformats.org/officeDocument/2006/relationships/tags" Target="../tags/tag387.xml"/><Relationship Id="rId58" Type="http://schemas.openxmlformats.org/officeDocument/2006/relationships/tags" Target="../tags/tag392.xml"/><Relationship Id="rId74" Type="http://schemas.openxmlformats.org/officeDocument/2006/relationships/tags" Target="../tags/tag408.xml"/><Relationship Id="rId79" Type="http://schemas.openxmlformats.org/officeDocument/2006/relationships/tags" Target="../tags/tag413.xml"/><Relationship Id="rId102" Type="http://schemas.openxmlformats.org/officeDocument/2006/relationships/tags" Target="../tags/tag436.xml"/><Relationship Id="rId123" Type="http://schemas.openxmlformats.org/officeDocument/2006/relationships/tags" Target="../tags/tag457.xml"/><Relationship Id="rId128" Type="http://schemas.openxmlformats.org/officeDocument/2006/relationships/tags" Target="../tags/tag462.xml"/><Relationship Id="rId5" Type="http://schemas.openxmlformats.org/officeDocument/2006/relationships/tags" Target="../tags/tag339.xml"/><Relationship Id="rId90" Type="http://schemas.openxmlformats.org/officeDocument/2006/relationships/tags" Target="../tags/tag424.xml"/><Relationship Id="rId95" Type="http://schemas.openxmlformats.org/officeDocument/2006/relationships/tags" Target="../tags/tag429.xml"/><Relationship Id="rId22" Type="http://schemas.openxmlformats.org/officeDocument/2006/relationships/tags" Target="../tags/tag356.xml"/><Relationship Id="rId27" Type="http://schemas.openxmlformats.org/officeDocument/2006/relationships/tags" Target="../tags/tag361.xml"/><Relationship Id="rId43" Type="http://schemas.openxmlformats.org/officeDocument/2006/relationships/tags" Target="../tags/tag377.xml"/><Relationship Id="rId48" Type="http://schemas.openxmlformats.org/officeDocument/2006/relationships/tags" Target="../tags/tag382.xml"/><Relationship Id="rId64" Type="http://schemas.openxmlformats.org/officeDocument/2006/relationships/tags" Target="../tags/tag398.xml"/><Relationship Id="rId69" Type="http://schemas.openxmlformats.org/officeDocument/2006/relationships/tags" Target="../tags/tag403.xml"/><Relationship Id="rId113" Type="http://schemas.openxmlformats.org/officeDocument/2006/relationships/tags" Target="../tags/tag447.xml"/><Relationship Id="rId118" Type="http://schemas.openxmlformats.org/officeDocument/2006/relationships/tags" Target="../tags/tag452.xml"/><Relationship Id="rId134" Type="http://schemas.openxmlformats.org/officeDocument/2006/relationships/slideLayout" Target="../slideLayouts/slideLayout7.xml"/><Relationship Id="rId139" Type="http://schemas.openxmlformats.org/officeDocument/2006/relationships/image" Target="../media/image43.png"/><Relationship Id="rId8" Type="http://schemas.openxmlformats.org/officeDocument/2006/relationships/tags" Target="../tags/tag342.xml"/><Relationship Id="rId51" Type="http://schemas.openxmlformats.org/officeDocument/2006/relationships/tags" Target="../tags/tag385.xml"/><Relationship Id="rId72" Type="http://schemas.openxmlformats.org/officeDocument/2006/relationships/tags" Target="../tags/tag406.xml"/><Relationship Id="rId80" Type="http://schemas.openxmlformats.org/officeDocument/2006/relationships/tags" Target="../tags/tag414.xml"/><Relationship Id="rId85" Type="http://schemas.openxmlformats.org/officeDocument/2006/relationships/tags" Target="../tags/tag419.xml"/><Relationship Id="rId93" Type="http://schemas.openxmlformats.org/officeDocument/2006/relationships/tags" Target="../tags/tag427.xml"/><Relationship Id="rId98" Type="http://schemas.openxmlformats.org/officeDocument/2006/relationships/tags" Target="../tags/tag432.xml"/><Relationship Id="rId121" Type="http://schemas.openxmlformats.org/officeDocument/2006/relationships/tags" Target="../tags/tag455.xml"/><Relationship Id="rId3" Type="http://schemas.openxmlformats.org/officeDocument/2006/relationships/tags" Target="../tags/tag337.xml"/><Relationship Id="rId12" Type="http://schemas.openxmlformats.org/officeDocument/2006/relationships/tags" Target="../tags/tag346.xml"/><Relationship Id="rId17" Type="http://schemas.openxmlformats.org/officeDocument/2006/relationships/tags" Target="../tags/tag351.xml"/><Relationship Id="rId25" Type="http://schemas.openxmlformats.org/officeDocument/2006/relationships/tags" Target="../tags/tag359.xml"/><Relationship Id="rId33" Type="http://schemas.openxmlformats.org/officeDocument/2006/relationships/tags" Target="../tags/tag367.xml"/><Relationship Id="rId38" Type="http://schemas.openxmlformats.org/officeDocument/2006/relationships/tags" Target="../tags/tag372.xml"/><Relationship Id="rId46" Type="http://schemas.openxmlformats.org/officeDocument/2006/relationships/tags" Target="../tags/tag380.xml"/><Relationship Id="rId59" Type="http://schemas.openxmlformats.org/officeDocument/2006/relationships/tags" Target="../tags/tag393.xml"/><Relationship Id="rId67" Type="http://schemas.openxmlformats.org/officeDocument/2006/relationships/tags" Target="../tags/tag401.xml"/><Relationship Id="rId103" Type="http://schemas.openxmlformats.org/officeDocument/2006/relationships/tags" Target="../tags/tag437.xml"/><Relationship Id="rId108" Type="http://schemas.openxmlformats.org/officeDocument/2006/relationships/tags" Target="../tags/tag442.xml"/><Relationship Id="rId116" Type="http://schemas.openxmlformats.org/officeDocument/2006/relationships/tags" Target="../tags/tag450.xml"/><Relationship Id="rId124" Type="http://schemas.openxmlformats.org/officeDocument/2006/relationships/tags" Target="../tags/tag458.xml"/><Relationship Id="rId129" Type="http://schemas.openxmlformats.org/officeDocument/2006/relationships/tags" Target="../tags/tag463.xml"/><Relationship Id="rId137" Type="http://schemas.openxmlformats.org/officeDocument/2006/relationships/image" Target="../media/image1.emf"/><Relationship Id="rId20" Type="http://schemas.openxmlformats.org/officeDocument/2006/relationships/tags" Target="../tags/tag354.xml"/><Relationship Id="rId41" Type="http://schemas.openxmlformats.org/officeDocument/2006/relationships/tags" Target="../tags/tag375.xml"/><Relationship Id="rId54" Type="http://schemas.openxmlformats.org/officeDocument/2006/relationships/tags" Target="../tags/tag388.xml"/><Relationship Id="rId62" Type="http://schemas.openxmlformats.org/officeDocument/2006/relationships/tags" Target="../tags/tag396.xml"/><Relationship Id="rId70" Type="http://schemas.openxmlformats.org/officeDocument/2006/relationships/tags" Target="../tags/tag404.xml"/><Relationship Id="rId75" Type="http://schemas.openxmlformats.org/officeDocument/2006/relationships/tags" Target="../tags/tag409.xml"/><Relationship Id="rId83" Type="http://schemas.openxmlformats.org/officeDocument/2006/relationships/tags" Target="../tags/tag417.xml"/><Relationship Id="rId88" Type="http://schemas.openxmlformats.org/officeDocument/2006/relationships/tags" Target="../tags/tag422.xml"/><Relationship Id="rId91" Type="http://schemas.openxmlformats.org/officeDocument/2006/relationships/tags" Target="../tags/tag425.xml"/><Relationship Id="rId96" Type="http://schemas.openxmlformats.org/officeDocument/2006/relationships/tags" Target="../tags/tag430.xml"/><Relationship Id="rId111" Type="http://schemas.openxmlformats.org/officeDocument/2006/relationships/tags" Target="../tags/tag445.xml"/><Relationship Id="rId132" Type="http://schemas.openxmlformats.org/officeDocument/2006/relationships/tags" Target="../tags/tag46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40.xml"/><Relationship Id="rId15" Type="http://schemas.openxmlformats.org/officeDocument/2006/relationships/tags" Target="../tags/tag349.xml"/><Relationship Id="rId23" Type="http://schemas.openxmlformats.org/officeDocument/2006/relationships/tags" Target="../tags/tag357.xml"/><Relationship Id="rId28" Type="http://schemas.openxmlformats.org/officeDocument/2006/relationships/tags" Target="../tags/tag362.xml"/><Relationship Id="rId36" Type="http://schemas.openxmlformats.org/officeDocument/2006/relationships/tags" Target="../tags/tag370.xml"/><Relationship Id="rId49" Type="http://schemas.openxmlformats.org/officeDocument/2006/relationships/tags" Target="../tags/tag383.xml"/><Relationship Id="rId57" Type="http://schemas.openxmlformats.org/officeDocument/2006/relationships/tags" Target="../tags/tag391.xml"/><Relationship Id="rId106" Type="http://schemas.openxmlformats.org/officeDocument/2006/relationships/tags" Target="../tags/tag440.xml"/><Relationship Id="rId114" Type="http://schemas.openxmlformats.org/officeDocument/2006/relationships/tags" Target="../tags/tag448.xml"/><Relationship Id="rId119" Type="http://schemas.openxmlformats.org/officeDocument/2006/relationships/tags" Target="../tags/tag453.xml"/><Relationship Id="rId127" Type="http://schemas.openxmlformats.org/officeDocument/2006/relationships/tags" Target="../tags/tag461.xml"/><Relationship Id="rId10" Type="http://schemas.openxmlformats.org/officeDocument/2006/relationships/tags" Target="../tags/tag344.xml"/><Relationship Id="rId31" Type="http://schemas.openxmlformats.org/officeDocument/2006/relationships/tags" Target="../tags/tag365.xml"/><Relationship Id="rId44" Type="http://schemas.openxmlformats.org/officeDocument/2006/relationships/tags" Target="../tags/tag378.xml"/><Relationship Id="rId52" Type="http://schemas.openxmlformats.org/officeDocument/2006/relationships/tags" Target="../tags/tag386.xml"/><Relationship Id="rId60" Type="http://schemas.openxmlformats.org/officeDocument/2006/relationships/tags" Target="../tags/tag394.xml"/><Relationship Id="rId65" Type="http://schemas.openxmlformats.org/officeDocument/2006/relationships/tags" Target="../tags/tag399.xml"/><Relationship Id="rId73" Type="http://schemas.openxmlformats.org/officeDocument/2006/relationships/tags" Target="../tags/tag407.xml"/><Relationship Id="rId78" Type="http://schemas.openxmlformats.org/officeDocument/2006/relationships/tags" Target="../tags/tag412.xml"/><Relationship Id="rId81" Type="http://schemas.openxmlformats.org/officeDocument/2006/relationships/tags" Target="../tags/tag415.xml"/><Relationship Id="rId86" Type="http://schemas.openxmlformats.org/officeDocument/2006/relationships/tags" Target="../tags/tag420.xml"/><Relationship Id="rId94" Type="http://schemas.openxmlformats.org/officeDocument/2006/relationships/tags" Target="../tags/tag428.xml"/><Relationship Id="rId99" Type="http://schemas.openxmlformats.org/officeDocument/2006/relationships/tags" Target="../tags/tag433.xml"/><Relationship Id="rId101" Type="http://schemas.openxmlformats.org/officeDocument/2006/relationships/tags" Target="../tags/tag435.xml"/><Relationship Id="rId122" Type="http://schemas.openxmlformats.org/officeDocument/2006/relationships/tags" Target="../tags/tag456.xml"/><Relationship Id="rId130" Type="http://schemas.openxmlformats.org/officeDocument/2006/relationships/tags" Target="../tags/tag464.xml"/><Relationship Id="rId135" Type="http://schemas.openxmlformats.org/officeDocument/2006/relationships/notesSlide" Target="../notesSlides/notesSlide19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3" Type="http://schemas.openxmlformats.org/officeDocument/2006/relationships/tags" Target="../tags/tag347.xml"/><Relationship Id="rId18" Type="http://schemas.openxmlformats.org/officeDocument/2006/relationships/tags" Target="../tags/tag352.xml"/><Relationship Id="rId39" Type="http://schemas.openxmlformats.org/officeDocument/2006/relationships/tags" Target="../tags/tag373.xml"/><Relationship Id="rId109" Type="http://schemas.openxmlformats.org/officeDocument/2006/relationships/tags" Target="../tags/tag443.xml"/><Relationship Id="rId34" Type="http://schemas.openxmlformats.org/officeDocument/2006/relationships/tags" Target="../tags/tag368.xml"/><Relationship Id="rId50" Type="http://schemas.openxmlformats.org/officeDocument/2006/relationships/tags" Target="../tags/tag384.xml"/><Relationship Id="rId55" Type="http://schemas.openxmlformats.org/officeDocument/2006/relationships/tags" Target="../tags/tag389.xml"/><Relationship Id="rId76" Type="http://schemas.openxmlformats.org/officeDocument/2006/relationships/tags" Target="../tags/tag410.xml"/><Relationship Id="rId97" Type="http://schemas.openxmlformats.org/officeDocument/2006/relationships/tags" Target="../tags/tag431.xml"/><Relationship Id="rId104" Type="http://schemas.openxmlformats.org/officeDocument/2006/relationships/tags" Target="../tags/tag438.xml"/><Relationship Id="rId120" Type="http://schemas.openxmlformats.org/officeDocument/2006/relationships/tags" Target="../tags/tag454.xml"/><Relationship Id="rId125" Type="http://schemas.openxmlformats.org/officeDocument/2006/relationships/tags" Target="../tags/tag459.xml"/><Relationship Id="rId7" Type="http://schemas.openxmlformats.org/officeDocument/2006/relationships/tags" Target="../tags/tag341.xml"/><Relationship Id="rId71" Type="http://schemas.openxmlformats.org/officeDocument/2006/relationships/tags" Target="../tags/tag405.xml"/><Relationship Id="rId92" Type="http://schemas.openxmlformats.org/officeDocument/2006/relationships/tags" Target="../tags/tag426.xml"/><Relationship Id="rId2" Type="http://schemas.openxmlformats.org/officeDocument/2006/relationships/tags" Target="../tags/tag336.xml"/><Relationship Id="rId29" Type="http://schemas.openxmlformats.org/officeDocument/2006/relationships/tags" Target="../tags/tag363.xml"/><Relationship Id="rId24" Type="http://schemas.openxmlformats.org/officeDocument/2006/relationships/tags" Target="../tags/tag358.xml"/><Relationship Id="rId40" Type="http://schemas.openxmlformats.org/officeDocument/2006/relationships/tags" Target="../tags/tag374.xml"/><Relationship Id="rId45" Type="http://schemas.openxmlformats.org/officeDocument/2006/relationships/tags" Target="../tags/tag379.xml"/><Relationship Id="rId66" Type="http://schemas.openxmlformats.org/officeDocument/2006/relationships/tags" Target="../tags/tag400.xml"/><Relationship Id="rId87" Type="http://schemas.openxmlformats.org/officeDocument/2006/relationships/tags" Target="../tags/tag421.xml"/><Relationship Id="rId110" Type="http://schemas.openxmlformats.org/officeDocument/2006/relationships/tags" Target="../tags/tag444.xml"/><Relationship Id="rId115" Type="http://schemas.openxmlformats.org/officeDocument/2006/relationships/tags" Target="../tags/tag449.xml"/><Relationship Id="rId131" Type="http://schemas.openxmlformats.org/officeDocument/2006/relationships/tags" Target="../tags/tag465.xml"/><Relationship Id="rId136" Type="http://schemas.openxmlformats.org/officeDocument/2006/relationships/oleObject" Target="../embeddings/oleObject21.bin"/><Relationship Id="rId61" Type="http://schemas.openxmlformats.org/officeDocument/2006/relationships/tags" Target="../tags/tag395.xml"/><Relationship Id="rId82" Type="http://schemas.openxmlformats.org/officeDocument/2006/relationships/tags" Target="../tags/tag416.xml"/><Relationship Id="rId19" Type="http://schemas.openxmlformats.org/officeDocument/2006/relationships/tags" Target="../tags/tag353.xml"/><Relationship Id="rId14" Type="http://schemas.openxmlformats.org/officeDocument/2006/relationships/tags" Target="../tags/tag348.xml"/><Relationship Id="rId30" Type="http://schemas.openxmlformats.org/officeDocument/2006/relationships/tags" Target="../tags/tag364.xml"/><Relationship Id="rId35" Type="http://schemas.openxmlformats.org/officeDocument/2006/relationships/tags" Target="../tags/tag369.xml"/><Relationship Id="rId56" Type="http://schemas.openxmlformats.org/officeDocument/2006/relationships/tags" Target="../tags/tag390.xml"/><Relationship Id="rId77" Type="http://schemas.openxmlformats.org/officeDocument/2006/relationships/tags" Target="../tags/tag411.xml"/><Relationship Id="rId100" Type="http://schemas.openxmlformats.org/officeDocument/2006/relationships/tags" Target="../tags/tag434.xml"/><Relationship Id="rId105" Type="http://schemas.openxmlformats.org/officeDocument/2006/relationships/tags" Target="../tags/tag439.xml"/><Relationship Id="rId126" Type="http://schemas.openxmlformats.org/officeDocument/2006/relationships/tags" Target="../tags/tag460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7.xml"/><Relationship Id="rId7" Type="http://schemas.openxmlformats.org/officeDocument/2006/relationships/customXml" Target="../ink/ink4.xml"/><Relationship Id="rId2" Type="http://schemas.openxmlformats.org/officeDocument/2006/relationships/tags" Target="../tags/tag46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73.xml"/><Relationship Id="rId7" Type="http://schemas.openxmlformats.org/officeDocument/2006/relationships/image" Target="../media/image1.emf"/><Relationship Id="rId2" Type="http://schemas.openxmlformats.org/officeDocument/2006/relationships/tags" Target="../tags/tag472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475.xml"/><Relationship Id="rId7" Type="http://schemas.openxmlformats.org/officeDocument/2006/relationships/image" Target="../media/image44.png"/><Relationship Id="rId2" Type="http://schemas.openxmlformats.org/officeDocument/2006/relationships/tags" Target="../tags/tag47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77.xml"/><Relationship Id="rId7" Type="http://schemas.openxmlformats.org/officeDocument/2006/relationships/image" Target="../media/image1.emf"/><Relationship Id="rId2" Type="http://schemas.openxmlformats.org/officeDocument/2006/relationships/tags" Target="../tags/tag476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79.xml"/><Relationship Id="rId7" Type="http://schemas.openxmlformats.org/officeDocument/2006/relationships/image" Target="../media/image1.emf"/><Relationship Id="rId2" Type="http://schemas.openxmlformats.org/officeDocument/2006/relationships/tags" Target="../tags/tag478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34.svg"/><Relationship Id="rId7" Type="http://schemas.openxmlformats.org/officeDocument/2006/relationships/diagramLayout" Target="../diagrams/layout1.xml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tags" Target="../tags/tag20.xml"/><Relationship Id="rId16" Type="http://schemas.openxmlformats.org/officeDocument/2006/relationships/image" Target="../media/image29.svg"/><Relationship Id="rId20" Type="http://schemas.openxmlformats.org/officeDocument/2006/relationships/image" Target="../media/image33.svg"/><Relationship Id="rId1" Type="http://schemas.openxmlformats.org/officeDocument/2006/relationships/vmlDrawing" Target="../drawings/vmlDrawing10.vml"/><Relationship Id="rId6" Type="http://schemas.openxmlformats.org/officeDocument/2006/relationships/diagramData" Target="../diagrams/data1.xml"/><Relationship Id="rId11" Type="http://schemas.openxmlformats.org/officeDocument/2006/relationships/customXml" Target="../ink/ink1.xml"/><Relationship Id="rId5" Type="http://schemas.openxmlformats.org/officeDocument/2006/relationships/image" Target="../media/image1.emf"/><Relationship Id="rId15" Type="http://schemas.openxmlformats.org/officeDocument/2006/relationships/image" Target="../media/image28.png"/><Relationship Id="rId10" Type="http://schemas.microsoft.com/office/2007/relationships/diagramDrawing" Target="../diagrams/drawing1.xml"/><Relationship Id="rId19" Type="http://schemas.openxmlformats.org/officeDocument/2006/relationships/image" Target="../media/image32.png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1.xml"/><Relationship Id="rId14" Type="http://schemas.openxmlformats.org/officeDocument/2006/relationships/image" Target="../media/image2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1015663"/>
          </a:xfrm>
        </p:spPr>
        <p:txBody>
          <a:bodyPr/>
          <a:lstStyle/>
          <a:p>
            <a:pPr algn="ctr"/>
            <a:r>
              <a:rPr lang="nb-NO" sz="6000" dirty="0">
                <a:solidFill>
                  <a:schemeClr val="bg1"/>
                </a:solidFill>
              </a:rPr>
              <a:t>Informasjonsmøte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3600" dirty="0">
                <a:solidFill>
                  <a:schemeClr val="bg1"/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000">
                <a:solidFill>
                  <a:srgbClr val="FFFFFF">
                    <a:lumMod val="85000"/>
                  </a:srgbClr>
                </a:solidFill>
                <a:latin typeface="Arial" panose="020B0604020202020204"/>
              </a:rPr>
              <a:t>06.05.2021</a:t>
            </a:r>
            <a:endParaRPr lang="nb-NO" sz="20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E8DCAB7-3BB9-4C44-AEEA-76EA78C119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E8DCAB7-3BB9-4C44-AEEA-76EA78C11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AEA2AD-52C8-46A3-A747-820A73B8D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nb-NO" sz="32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1E5449-5907-45C8-959C-2BE182CC7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796" y="530381"/>
            <a:ext cx="14966661" cy="586957"/>
          </a:xfrm>
        </p:spPr>
        <p:txBody>
          <a:bodyPr/>
          <a:lstStyle/>
          <a:p>
            <a:r>
              <a:rPr lang="nb-NO" sz="3200"/>
              <a:t>Design Sprint</a:t>
            </a:r>
            <a:endParaRPr lang="nb-NO" sz="2400"/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9B8010A0-F12C-4323-9139-938DF3DC8A6A}"/>
              </a:ext>
            </a:extLst>
          </p:cNvPr>
          <p:cNvGraphicFramePr>
            <a:graphicFrameLocks noGrp="1"/>
          </p:cNvGraphicFramePr>
          <p:nvPr/>
        </p:nvGraphicFramePr>
        <p:xfrm>
          <a:off x="528846" y="1688420"/>
          <a:ext cx="11097995" cy="4450323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219599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2219599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2219599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2219599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2219599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/>
                        <a:t>Tirsda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/>
                        <a:t>Onsda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/>
                        <a:t>Torsda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/>
                        <a:t>Fredag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553836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5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50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50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50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50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5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260727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300"/>
                        <a:t>Kunnskapsgrunnlag og workshop med referanseteam</a:t>
                      </a:r>
                      <a:endParaRPr lang="nb-NO" sz="13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Konkrete løsningsforslag per problemstill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Prioritere 2-3 forslag per problemstilling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Presentere løsningsforslag for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300"/>
                        <a:t>Innspill fra operativ prosessei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3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Ferdigstille løsningsforslag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OK fra operativ prosesseier</a:t>
                      </a:r>
                      <a:endParaRPr lang="nb-NO" sz="1300" b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 b="0">
                          <a:solidFill>
                            <a:schemeClr val="tx1"/>
                          </a:solidFill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300" b="0">
                          <a:solidFill>
                            <a:schemeClr val="tx1"/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 b="0">
                          <a:solidFill>
                            <a:schemeClr val="tx1"/>
                          </a:solidFill>
                        </a:rPr>
                        <a:t>Intervjuobjekter/</a:t>
                      </a:r>
                      <a:br>
                        <a:rPr lang="nb-NO" sz="1300" b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300" b="0">
                          <a:solidFill>
                            <a:schemeClr val="tx1"/>
                          </a:solidFill>
                        </a:rPr>
                        <a:t>fokusgrupp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Kjerneteam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300"/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300"/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300"/>
                        <a:t>Operativ prosessei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/>
                        <a:t>Kjerneteam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 b="0" err="1"/>
                        <a:t>Kjerneteam</a:t>
                      </a:r>
                      <a:endParaRPr lang="nb-NO" sz="1300" b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300" b="0"/>
                        <a:t>Operativ prosessei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8CD5D6C0-6AFA-470D-B229-CA4961FA0E2D}"/>
              </a:ext>
            </a:extLst>
          </p:cNvPr>
          <p:cNvGrpSpPr/>
          <p:nvPr/>
        </p:nvGrpSpPr>
        <p:grpSpPr>
          <a:xfrm>
            <a:off x="630425" y="2108140"/>
            <a:ext cx="10850185" cy="1434083"/>
            <a:chOff x="-389322" y="2070835"/>
            <a:chExt cx="9846530" cy="1301430"/>
          </a:xfrm>
        </p:grpSpPr>
        <p:pic>
          <p:nvPicPr>
            <p:cNvPr id="25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D08E93CF-000D-4CD2-8612-34CCADC89A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AD4AF167-9C70-4C17-A5F2-CDAD3EEC318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19F0EA4B-6412-4782-9CBE-449CAD0217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108B63CE-C3C5-407E-BE9E-EDBF3832DA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B4DFD824-19EB-40C8-941A-123D380039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41F73EA-8190-4DC4-BA28-EF7FACACDE18}"/>
              </a:ext>
            </a:extLst>
          </p:cNvPr>
          <p:cNvSpPr/>
          <p:nvPr/>
        </p:nvSpPr>
        <p:spPr>
          <a:xfrm rot="20869639">
            <a:off x="311422" y="5131303"/>
            <a:ext cx="578769" cy="1544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33">
                <a:solidFill>
                  <a:schemeClr val="tx1">
                    <a:lumMod val="75000"/>
                    <a:lumOff val="25000"/>
                  </a:schemeClr>
                </a:solidFill>
              </a:rPr>
              <a:t>Deltaker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D29CEC8-8991-4C8F-AF7B-66285E2F2E16}"/>
              </a:ext>
            </a:extLst>
          </p:cNvPr>
          <p:cNvSpPr/>
          <p:nvPr/>
        </p:nvSpPr>
        <p:spPr>
          <a:xfrm rot="20973762">
            <a:off x="329797" y="3846863"/>
            <a:ext cx="578769" cy="1544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33">
                <a:solidFill>
                  <a:schemeClr val="tx1">
                    <a:lumMod val="75000"/>
                    <a:lumOff val="25000"/>
                  </a:schemeClr>
                </a:solidFill>
              </a:rPr>
              <a:t>Aktiviteter</a:t>
            </a:r>
          </a:p>
        </p:txBody>
      </p:sp>
    </p:spTree>
    <p:extLst>
      <p:ext uri="{BB962C8B-B14F-4D97-AF65-F5344CB8AC3E}">
        <p14:creationId xmlns:p14="http://schemas.microsoft.com/office/powerpoint/2010/main" val="1335494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>
            <a:extLst>
              <a:ext uri="{FF2B5EF4-FFF2-40B4-BE49-F238E27FC236}">
                <a16:creationId xmlns:a16="http://schemas.microsoft.com/office/drawing/2014/main" id="{D1FE3844-6F06-4720-B7E0-C8A8CBD796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169" imgW="592" imgH="591" progId="TCLayout.ActiveDocument.1">
                  <p:embed/>
                </p:oleObj>
              </mc:Choice>
              <mc:Fallback>
                <p:oleObj name="think-cell Slide" r:id="rId169" imgW="592" imgH="591" progId="TCLayout.ActiveDocument.1">
                  <p:embed/>
                  <p:pic>
                    <p:nvPicPr>
                      <p:cNvPr id="60" name="Object 59" hidden="1">
                        <a:extLst>
                          <a:ext uri="{FF2B5EF4-FFF2-40B4-BE49-F238E27FC236}">
                            <a16:creationId xmlns:a16="http://schemas.microsoft.com/office/drawing/2014/main" id="{D1FE3844-6F06-4720-B7E0-C8A8CBD79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25AD72-CA4A-47ED-8551-52BB99ACFC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itle 73">
            <a:extLst>
              <a:ext uri="{FF2B5EF4-FFF2-40B4-BE49-F238E27FC236}">
                <a16:creationId xmlns:a16="http://schemas.microsoft.com/office/drawing/2014/main" id="{EC59EA4B-F9DE-4B6C-8421-DF8799887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1" y="85418"/>
            <a:ext cx="10972800" cy="338554"/>
          </a:xfrm>
        </p:spPr>
        <p:txBody>
          <a:bodyPr/>
          <a:lstStyle/>
          <a:p>
            <a:r>
              <a:rPr lang="nb-NO" sz="1600"/>
              <a:t>Detaljert prosess: Forankring og beslutning av løsninger fra prosessgjennomganger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0A0AF7BB-2332-4C8C-B397-FEACBB635983}"/>
              </a:ext>
            </a:extLst>
          </p:cNvPr>
          <p:cNvSpPr/>
          <p:nvPr/>
        </p:nvSpPr>
        <p:spPr>
          <a:xfrm>
            <a:off x="10634013" y="34924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55"/>
            <a:r>
              <a:rPr lang="nb-NO" sz="900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. dato: 06.05.2021 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28" name="Isosceles Triangle 527">
            <a:extLst>
              <a:ext uri="{FF2B5EF4-FFF2-40B4-BE49-F238E27FC236}">
                <a16:creationId xmlns:a16="http://schemas.microsoft.com/office/drawing/2014/main" id="{303579D1-6E85-48AF-BC45-8418AE9BC778}"/>
              </a:ext>
            </a:extLst>
          </p:cNvPr>
          <p:cNvSpPr/>
          <p:nvPr/>
        </p:nvSpPr>
        <p:spPr>
          <a:xfrm>
            <a:off x="10064615" y="370652"/>
            <a:ext cx="180000" cy="18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71AC14BA-6DBE-4619-A37D-CDCCAE5B39FF}"/>
              </a:ext>
            </a:extLst>
          </p:cNvPr>
          <p:cNvSpPr txBox="1"/>
          <p:nvPr/>
        </p:nvSpPr>
        <p:spPr>
          <a:xfrm>
            <a:off x="10209532" y="341636"/>
            <a:ext cx="1060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Frister</a:t>
            </a:r>
          </a:p>
        </p:txBody>
      </p:sp>
      <p:sp>
        <p:nvSpPr>
          <p:cNvPr id="530" name="Flowchart: Decision 529">
            <a:extLst>
              <a:ext uri="{FF2B5EF4-FFF2-40B4-BE49-F238E27FC236}">
                <a16:creationId xmlns:a16="http://schemas.microsoft.com/office/drawing/2014/main" id="{E5C7644E-4509-4D32-A68C-A508846FA618}"/>
              </a:ext>
            </a:extLst>
          </p:cNvPr>
          <p:cNvSpPr/>
          <p:nvPr/>
        </p:nvSpPr>
        <p:spPr>
          <a:xfrm>
            <a:off x="10718508" y="366714"/>
            <a:ext cx="180000" cy="18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AA4F6DE4-C2B6-4FAD-88F4-2475759EC2DE}"/>
              </a:ext>
            </a:extLst>
          </p:cNvPr>
          <p:cNvSpPr txBox="1"/>
          <p:nvPr/>
        </p:nvSpPr>
        <p:spPr>
          <a:xfrm>
            <a:off x="10863425" y="337698"/>
            <a:ext cx="1060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Beslutning</a:t>
            </a:r>
          </a:p>
        </p:txBody>
      </p:sp>
      <p:sp>
        <p:nvSpPr>
          <p:cNvPr id="532" name="Oval 531">
            <a:extLst>
              <a:ext uri="{FF2B5EF4-FFF2-40B4-BE49-F238E27FC236}">
                <a16:creationId xmlns:a16="http://schemas.microsoft.com/office/drawing/2014/main" id="{E0E95345-C6C5-452E-91FF-31AA1E4C4673}"/>
              </a:ext>
            </a:extLst>
          </p:cNvPr>
          <p:cNvSpPr/>
          <p:nvPr/>
        </p:nvSpPr>
        <p:spPr>
          <a:xfrm>
            <a:off x="11596240" y="363344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D7422C21-F177-4F17-9600-8F855E618DD9}"/>
              </a:ext>
            </a:extLst>
          </p:cNvPr>
          <p:cNvSpPr txBox="1"/>
          <p:nvPr/>
        </p:nvSpPr>
        <p:spPr>
          <a:xfrm>
            <a:off x="11741157" y="334328"/>
            <a:ext cx="1060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Møter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379055D9-398C-41E7-A145-BE153BFA3FB0}"/>
              </a:ext>
            </a:extLst>
          </p:cNvPr>
          <p:cNvSpPr txBox="1"/>
          <p:nvPr/>
        </p:nvSpPr>
        <p:spPr>
          <a:xfrm>
            <a:off x="2754326" y="6603711"/>
            <a:ext cx="73993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DM: Dekanmøtet, SG: Styringsgruppemøte, SESAM: Sentralt samarbeidsutvalg, ALF: Administrativt lederforum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C74056DE-9816-47EE-89EE-CD60F76662A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962650" y="1077913"/>
            <a:ext cx="1128713" cy="50053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95" name="Plassholder for tekst 2">
            <a:extLst>
              <a:ext uri="{FF2B5EF4-FFF2-40B4-BE49-F238E27FC236}">
                <a16:creationId xmlns:a16="http://schemas.microsoft.com/office/drawing/2014/main" id="{64B97CE4-2AF7-4F20-8695-656C61E011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16125" y="617538"/>
            <a:ext cx="437038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9A5913-B6EA-4C8F-A607-A2D459938FDC}" type="datetime'''''''''''''''''''''''''''''''''''''''''m''''''''ar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96" name="Plassholder for tekst 2">
            <a:extLst>
              <a:ext uri="{FF2B5EF4-FFF2-40B4-BE49-F238E27FC236}">
                <a16:creationId xmlns:a16="http://schemas.microsoft.com/office/drawing/2014/main" id="{927399D2-4C05-40FA-AA07-5CD30753E80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386513" y="617538"/>
            <a:ext cx="422910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0362A5-F230-4D9E-8799-8D60172130E6}" type="datetime'''''''''''''''''''''''a''p''''''''''r''''''''''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97" name="Plassholder for tekst 2">
            <a:extLst>
              <a:ext uri="{FF2B5EF4-FFF2-40B4-BE49-F238E27FC236}">
                <a16:creationId xmlns:a16="http://schemas.microsoft.com/office/drawing/2014/main" id="{E03A7144-B675-4B08-B510-012FF30259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615613" y="617538"/>
            <a:ext cx="140970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836E68-88DB-495D-A90C-E46BBE880210}" type="datetime'''''''''''''''''''''''''''''''m''''a''''i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98" name="Plassholder for tekst 2">
            <a:extLst>
              <a:ext uri="{FF2B5EF4-FFF2-40B4-BE49-F238E27FC236}">
                <a16:creationId xmlns:a16="http://schemas.microsoft.com/office/drawing/2014/main" id="{2570301A-5A0C-48D7-AD3E-9C26CB5CF6C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16125" y="847725"/>
            <a:ext cx="9874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4BDF61-D705-44C9-87FF-977365C33025}" type="datetime'''''''''''''''''''0''''''9''''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99" name="Plassholder for tekst 2">
            <a:extLst>
              <a:ext uri="{FF2B5EF4-FFF2-40B4-BE49-F238E27FC236}">
                <a16:creationId xmlns:a16="http://schemas.microsoft.com/office/drawing/2014/main" id="{932A1B28-C28C-4F0A-8F4E-325CFB0047E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003550" y="847725"/>
            <a:ext cx="9858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81AEB3-A961-4D95-8393-F0CDECB84E50}" type="datetime'''''''''''''''''''''1''''''''''0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00" name="Plassholder for tekst 2">
            <a:extLst>
              <a:ext uri="{FF2B5EF4-FFF2-40B4-BE49-F238E27FC236}">
                <a16:creationId xmlns:a16="http://schemas.microsoft.com/office/drawing/2014/main" id="{CFEC3683-D507-41E4-87A6-4DFB28AA233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989388" y="847725"/>
            <a:ext cx="9874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0AA3C9-EF27-4793-B67F-23FCFB4FBAEC}" type="datetime'''''''''''''''''''''1''''''''''''''''''''''1''''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01" name="Plassholder for tekst 2">
            <a:extLst>
              <a:ext uri="{FF2B5EF4-FFF2-40B4-BE49-F238E27FC236}">
                <a16:creationId xmlns:a16="http://schemas.microsoft.com/office/drawing/2014/main" id="{A820CB52-74A0-45A6-83AC-2BF44994BA2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76813" y="847725"/>
            <a:ext cx="9858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8A1347-9B88-4C4E-9DBA-468E976F2B97}" type="datetime'''''''''1''''''''''''''2''''''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02" name="Plassholder for tekst 2">
            <a:extLst>
              <a:ext uri="{FF2B5EF4-FFF2-40B4-BE49-F238E27FC236}">
                <a16:creationId xmlns:a16="http://schemas.microsoft.com/office/drawing/2014/main" id="{9490670B-06F8-411D-A92F-6CE01502E1D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62650" y="847725"/>
            <a:ext cx="9874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73A79D-6959-4004-AABE-13D352F50F80}" type="datetime'''''''1''''''''''''''''''''''''''''''''''''3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03" name="Plassholder for tekst 2">
            <a:extLst>
              <a:ext uri="{FF2B5EF4-FFF2-40B4-BE49-F238E27FC236}">
                <a16:creationId xmlns:a16="http://schemas.microsoft.com/office/drawing/2014/main" id="{38F0BB1E-64B3-4CD1-A0E2-0E19CDA50B8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950075" y="847725"/>
            <a:ext cx="9874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C6DE1-5D7B-442E-9C75-7A14BEE2E16D}" type="datetime'''''''''''''''''''''1''''''''''''''''''''''''''4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05" name="Plassholder for tekst 2">
            <a:extLst>
              <a:ext uri="{FF2B5EF4-FFF2-40B4-BE49-F238E27FC236}">
                <a16:creationId xmlns:a16="http://schemas.microsoft.com/office/drawing/2014/main" id="{39A936B0-91BD-4DE3-85C4-24CBEBF2D6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937500" y="847725"/>
            <a:ext cx="9858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E7FEB-2B2C-4E41-8045-B7EA8307C95B}" type="datetime'''1''5''''''''''''''''''''''''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08" name="Plassholder for tekst 2">
            <a:extLst>
              <a:ext uri="{FF2B5EF4-FFF2-40B4-BE49-F238E27FC236}">
                <a16:creationId xmlns:a16="http://schemas.microsoft.com/office/drawing/2014/main" id="{8460351B-37D0-4BF9-964B-4A9067CEF36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23338" y="847725"/>
            <a:ext cx="9874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753FB-9650-426D-9014-C3A6878F86CC}" type="datetime'''''''''''''''''''''''''''''''''1''6''''''''''''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10" name="Plassholder for tekst 2">
            <a:extLst>
              <a:ext uri="{FF2B5EF4-FFF2-40B4-BE49-F238E27FC236}">
                <a16:creationId xmlns:a16="http://schemas.microsoft.com/office/drawing/2014/main" id="{21FE1F15-FC6A-49B2-8524-49096CDEAF9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910763" y="847725"/>
            <a:ext cx="9874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F1E5E4-AE54-4009-93DD-A9E87A9E0DEE}" type="datetime'1''''''''''''''''''''''7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11" name="Plassholder for tekst 2">
            <a:extLst>
              <a:ext uri="{FF2B5EF4-FFF2-40B4-BE49-F238E27FC236}">
                <a16:creationId xmlns:a16="http://schemas.microsoft.com/office/drawing/2014/main" id="{8ADE9548-25FE-4099-9D16-B50B12E2BE0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898188" y="847725"/>
            <a:ext cx="9858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B33C7D-9653-4F87-89FB-B726A5FF506D}" type="datetime'''''''1''''8'''''''''''''">
              <a:rPr lang="nb-NO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12" name="Plassholder for tekst 2">
            <a:extLst>
              <a:ext uri="{FF2B5EF4-FFF2-40B4-BE49-F238E27FC236}">
                <a16:creationId xmlns:a16="http://schemas.microsoft.com/office/drawing/2014/main" id="{97F3D909-32DC-4F79-9B72-06E17E1848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884025" y="847725"/>
            <a:ext cx="14128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66FE5391-836E-4389-84DF-7DFE434026E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615613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8DC7ABB3-E8F5-48AF-B878-21A097E0E7C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2025313" y="1077913"/>
            <a:ext cx="0" cy="5005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A25E28D2-42E8-461F-906E-C842FD3639F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386513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F147D913-66D4-447F-929D-47A61E30A83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90513" y="1077913"/>
            <a:ext cx="0" cy="5005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A2FD6C32-D232-4F4A-BD47-C8127B1E5087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016125" y="1077913"/>
            <a:ext cx="0" cy="5005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B8F6A91-C4A1-4CED-8213-F4D7EADDDB0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0898188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E55718F0-34EA-4006-A0E1-39EFDA5E852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3989388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F1327A28-5CEE-4E6B-A2FC-FC1713824DD2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976813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EED5B36-461C-4012-BDEF-EAF83A554E6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3003550" y="1077913"/>
            <a:ext cx="0" cy="50053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CD8DDC47-AE5A-463C-83AC-18C135A7048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962650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88B33328-D944-47C8-9C55-7AC4493D27E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950075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B01B995C-32F9-40AD-96D3-90C4502161AF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7937500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F900D5A2-F59C-4B42-B179-432F82B5685C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8923338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512033EE-C14D-45F5-82CA-FC20CFF4A4D6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9910763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12E337EE-EA52-4C7E-AAF7-708D1FC563F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1884025" y="1077913"/>
            <a:ext cx="0" cy="5005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CB060ACC-807C-476C-BDB4-4E478BF2E39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290513" y="2478088"/>
            <a:ext cx="11734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2FC1435C-8782-4155-9ADE-7BB91D32A7CD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290513" y="5348288"/>
            <a:ext cx="11734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A339EC2E-FAE2-491E-93BF-CEB853969162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290513" y="3913188"/>
            <a:ext cx="11734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F4C576A9-5F22-4FFF-826E-3B64B8AEB9EC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274755" y="6080847"/>
            <a:ext cx="11734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FD5890C3-5148-4A3F-92DE-2DD8953D07B1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1095038" y="895351"/>
            <a:ext cx="0" cy="5640387"/>
          </a:xfrm>
          <a:prstGeom prst="line">
            <a:avLst/>
          </a:prstGeom>
          <a:ln w="19050" cap="flat" cmpd="sng" algn="ctr">
            <a:solidFill>
              <a:srgbClr val="DA291C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57411983-65C2-41F0-BB42-B56AB95ED123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290513" y="1077913"/>
            <a:ext cx="11734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4" name="Rectangle 233">
            <a:extLst>
              <a:ext uri="{FF2B5EF4-FFF2-40B4-BE49-F238E27FC236}">
                <a16:creationId xmlns:a16="http://schemas.microsoft.com/office/drawing/2014/main" id="{C90904BD-E2D8-474E-9A81-2D9AFDDFF91B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8078788" y="2065338"/>
            <a:ext cx="1831975" cy="793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48C4DA31-6FD0-4A3F-985B-6A1A3499647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064625" y="3498850"/>
            <a:ext cx="1409700" cy="793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78A918D6-3ACE-4911-8F1E-D9E12DE5E7BC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10052050" y="4933950"/>
            <a:ext cx="1690688" cy="793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5F51810B-A5AD-4A5A-8B2F-138C4AB6FA25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118100" y="4933950"/>
            <a:ext cx="2960688" cy="79375"/>
          </a:xfrm>
          <a:prstGeom prst="rect">
            <a:avLst/>
          </a:prstGeom>
          <a:solidFill>
            <a:srgbClr val="969696"/>
          </a:solidFill>
          <a:ln w="19050" algn="ctr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A5B1A951-5107-46DD-A310-D8C3F56F0C42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3143250" y="2065338"/>
            <a:ext cx="2114550" cy="79375"/>
          </a:xfrm>
          <a:prstGeom prst="rect">
            <a:avLst/>
          </a:prstGeom>
          <a:solidFill>
            <a:srgbClr val="969696"/>
          </a:solidFill>
          <a:ln w="19050" algn="ctr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6567CA2D-668C-43E9-A8F4-F586E422FACC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4130675" y="3498850"/>
            <a:ext cx="3243263" cy="79375"/>
          </a:xfrm>
          <a:prstGeom prst="rect">
            <a:avLst/>
          </a:prstGeom>
          <a:solidFill>
            <a:srgbClr val="969696"/>
          </a:solidFill>
          <a:ln w="19050" algn="ctr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5D4904ED-4B3B-45C7-B2DE-4A3918162208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2020888" y="2065338"/>
            <a:ext cx="700088" cy="79375"/>
          </a:xfrm>
          <a:prstGeom prst="rect">
            <a:avLst/>
          </a:prstGeom>
          <a:solidFill>
            <a:srgbClr val="969696"/>
          </a:solidFill>
          <a:ln w="19050" algn="ctr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2D7DE16B-DA28-41A5-88E5-ABC783D66210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3003550" y="3498850"/>
            <a:ext cx="704850" cy="79375"/>
          </a:xfrm>
          <a:prstGeom prst="rect">
            <a:avLst/>
          </a:prstGeom>
          <a:solidFill>
            <a:srgbClr val="969696"/>
          </a:solidFill>
          <a:ln w="19050" algn="ctr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BC5BFC7F-8596-48D0-8076-722E210E0F8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3989388" y="4933950"/>
            <a:ext cx="704850" cy="79375"/>
          </a:xfrm>
          <a:prstGeom prst="rect">
            <a:avLst/>
          </a:prstGeom>
          <a:solidFill>
            <a:srgbClr val="969696"/>
          </a:solidFill>
          <a:ln w="19050" algn="ctr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3" name="Isosceles Triangle 242">
            <a:extLst>
              <a:ext uri="{FF2B5EF4-FFF2-40B4-BE49-F238E27FC236}">
                <a16:creationId xmlns:a16="http://schemas.microsoft.com/office/drawing/2014/main" id="{A42D5D18-0514-40BF-8682-AC620247AD91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 rot="10800000">
            <a:off x="6419850" y="62277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4" name="Right Bracket 243">
            <a:extLst>
              <a:ext uri="{FF2B5EF4-FFF2-40B4-BE49-F238E27FC236}">
                <a16:creationId xmlns:a16="http://schemas.microsoft.com/office/drawing/2014/main" id="{855CB705-E284-4A4D-A2E0-C36F571AB8AD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 rot="5400000">
            <a:off x="6472238" y="5608638"/>
            <a:ext cx="107950" cy="112871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24E649FB-E7DB-4298-8BD3-F1500D3A934C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10980738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94FBC3C6-5E7A-4B57-B64D-09661C692329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10136188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1101E0B7-7A37-43B2-8A39-FFBFDB5E02EF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9853613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0" name="Diamond 259">
            <a:extLst>
              <a:ext uri="{FF2B5EF4-FFF2-40B4-BE49-F238E27FC236}">
                <a16:creationId xmlns:a16="http://schemas.microsoft.com/office/drawing/2014/main" id="{869D562C-9239-4D4D-877D-FF0A06A9B6BD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7880350" y="1506538"/>
            <a:ext cx="114300" cy="114300"/>
          </a:xfrm>
          <a:prstGeom prst="diamond">
            <a:avLst/>
          </a:prstGeom>
          <a:solidFill>
            <a:srgbClr val="DA291C"/>
          </a:solidFill>
          <a:ln w="9525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0" name="Diamond 249">
            <a:extLst>
              <a:ext uri="{FF2B5EF4-FFF2-40B4-BE49-F238E27FC236}">
                <a16:creationId xmlns:a16="http://schemas.microsoft.com/office/drawing/2014/main" id="{825993D1-8A60-4968-95C9-CC80F624FCD6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8866188" y="2940050"/>
            <a:ext cx="114300" cy="114300"/>
          </a:xfrm>
          <a:prstGeom prst="diamond">
            <a:avLst/>
          </a:prstGeom>
          <a:solidFill>
            <a:srgbClr val="DA291C"/>
          </a:solidFill>
          <a:ln w="9525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D8934087-E426-4FDC-B25B-FD872CA3F2AC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8866188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14C3F1F1-6818-4222-A6BD-5BD0507D12DF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7316788" y="15065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B5B40697-4859-4F5B-93BD-2AD48B095AC3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7880350" y="29400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0" name="Diamond 269">
            <a:extLst>
              <a:ext uri="{FF2B5EF4-FFF2-40B4-BE49-F238E27FC236}">
                <a16:creationId xmlns:a16="http://schemas.microsoft.com/office/drawing/2014/main" id="{098DB0F6-E879-40B3-9D4C-0CA440AAD018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9853613" y="4375150"/>
            <a:ext cx="114300" cy="114300"/>
          </a:xfrm>
          <a:prstGeom prst="diamond">
            <a:avLst/>
          </a:prstGeom>
          <a:solidFill>
            <a:srgbClr val="DA291C"/>
          </a:solidFill>
          <a:ln w="9525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2" name="Oval 271">
            <a:extLst>
              <a:ext uri="{FF2B5EF4-FFF2-40B4-BE49-F238E27FC236}">
                <a16:creationId xmlns:a16="http://schemas.microsoft.com/office/drawing/2014/main" id="{7664BF32-C7C5-4F92-96C3-938FD4BE1563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8443913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8" name="Isosceles Triangle 267">
            <a:extLst>
              <a:ext uri="{FF2B5EF4-FFF2-40B4-BE49-F238E27FC236}">
                <a16:creationId xmlns:a16="http://schemas.microsoft.com/office/drawing/2014/main" id="{1267B2D2-4C47-4C10-BB88-D973799E7BF6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7316788" y="2940050"/>
            <a:ext cx="114300" cy="114300"/>
          </a:xfrm>
          <a:prstGeom prst="triangle">
            <a:avLst/>
          </a:prstGeom>
          <a:solidFill>
            <a:srgbClr val="FFCD00"/>
          </a:solidFill>
          <a:ln w="9525" algn="ctr">
            <a:solidFill>
              <a:srgbClr val="FFCD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96B84FD6-EE70-448A-9412-69F7209DFFE9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8866188" y="43751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2B1149E5-0963-4E3C-A356-7571EF07BEFB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7880350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2D0EC189-0A33-4A69-AA8B-6DEEB5D2EA5F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5483225" y="15065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0" name="Isosceles Triangle 279">
            <a:extLst>
              <a:ext uri="{FF2B5EF4-FFF2-40B4-BE49-F238E27FC236}">
                <a16:creationId xmlns:a16="http://schemas.microsoft.com/office/drawing/2014/main" id="{32ADFE24-3BCF-479B-91A7-143F01349541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5200650" y="1506538"/>
            <a:ext cx="114300" cy="114300"/>
          </a:xfrm>
          <a:prstGeom prst="triangle">
            <a:avLst/>
          </a:prstGeom>
          <a:solidFill>
            <a:srgbClr val="FFCD00"/>
          </a:solidFill>
          <a:ln w="9525" algn="ctr">
            <a:solidFill>
              <a:srgbClr val="FFCD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8" name="Isosceles Triangle 277">
            <a:extLst>
              <a:ext uri="{FF2B5EF4-FFF2-40B4-BE49-F238E27FC236}">
                <a16:creationId xmlns:a16="http://schemas.microsoft.com/office/drawing/2014/main" id="{55E891D4-86C6-419E-A9FB-75B729D701F5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8021638" y="4375150"/>
            <a:ext cx="114300" cy="114300"/>
          </a:xfrm>
          <a:prstGeom prst="triangle">
            <a:avLst/>
          </a:prstGeom>
          <a:solidFill>
            <a:srgbClr val="FFCD00"/>
          </a:solidFill>
          <a:ln w="9525" algn="ctr">
            <a:solidFill>
              <a:srgbClr val="FFCD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1" name="Oval 280">
            <a:extLst>
              <a:ext uri="{FF2B5EF4-FFF2-40B4-BE49-F238E27FC236}">
                <a16:creationId xmlns:a16="http://schemas.microsoft.com/office/drawing/2014/main" id="{C3771A8C-1714-4D7C-A019-F0E80A19571B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7316788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9" name="Oval 278">
            <a:extLst>
              <a:ext uri="{FF2B5EF4-FFF2-40B4-BE49-F238E27FC236}">
                <a16:creationId xmlns:a16="http://schemas.microsoft.com/office/drawing/2014/main" id="{09D69714-0D51-4908-959F-5E4A516A5DF3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5483225" y="29400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5" name="Oval 284">
            <a:extLst>
              <a:ext uri="{FF2B5EF4-FFF2-40B4-BE49-F238E27FC236}">
                <a16:creationId xmlns:a16="http://schemas.microsoft.com/office/drawing/2014/main" id="{2EDE1805-9E99-40DE-9552-F5496982CA37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5341938" y="29400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3" name="Oval 282">
            <a:extLst>
              <a:ext uri="{FF2B5EF4-FFF2-40B4-BE49-F238E27FC236}">
                <a16:creationId xmlns:a16="http://schemas.microsoft.com/office/drawing/2014/main" id="{089E2478-DDB1-4C4E-8288-1ACB18A79B5B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4356100" y="1506538"/>
            <a:ext cx="114300" cy="114300"/>
          </a:xfrm>
          <a:prstGeom prst="ellipse">
            <a:avLst/>
          </a:prstGeom>
          <a:solidFill>
            <a:srgbClr val="FFCD00"/>
          </a:solidFill>
          <a:ln w="9525" algn="ctr">
            <a:solidFill>
              <a:srgbClr val="FFCD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4" name="Oval 283">
            <a:extLst>
              <a:ext uri="{FF2B5EF4-FFF2-40B4-BE49-F238E27FC236}">
                <a16:creationId xmlns:a16="http://schemas.microsoft.com/office/drawing/2014/main" id="{5802B3E6-1AA0-49C3-A972-7DC9840AB76D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7880350" y="43751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4530AF15-CDCC-4DF0-9497-4D078C31D847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5483225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8" name="Oval 287">
            <a:extLst>
              <a:ext uri="{FF2B5EF4-FFF2-40B4-BE49-F238E27FC236}">
                <a16:creationId xmlns:a16="http://schemas.microsoft.com/office/drawing/2014/main" id="{87B3FDC9-3568-406C-A5FD-FFF60442BC98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4356100" y="29400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48B9507F-1872-424A-ADEE-66F9E07D055B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7316788" y="43751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6" name="Oval 285">
            <a:extLst>
              <a:ext uri="{FF2B5EF4-FFF2-40B4-BE49-F238E27FC236}">
                <a16:creationId xmlns:a16="http://schemas.microsoft.com/office/drawing/2014/main" id="{2D051820-E00C-4F07-AB68-EEB58CA84190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4356100" y="15065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3" name="Oval 292">
            <a:extLst>
              <a:ext uri="{FF2B5EF4-FFF2-40B4-BE49-F238E27FC236}">
                <a16:creationId xmlns:a16="http://schemas.microsoft.com/office/drawing/2014/main" id="{0486AA7C-765C-4826-827B-0D9DD60BF5BC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4073525" y="29400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2" name="Oval 291">
            <a:extLst>
              <a:ext uri="{FF2B5EF4-FFF2-40B4-BE49-F238E27FC236}">
                <a16:creationId xmlns:a16="http://schemas.microsoft.com/office/drawing/2014/main" id="{7A634B88-BA16-4952-B35B-032C02405233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6046788" y="43751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1" name="Oval 290">
            <a:extLst>
              <a:ext uri="{FF2B5EF4-FFF2-40B4-BE49-F238E27FC236}">
                <a16:creationId xmlns:a16="http://schemas.microsoft.com/office/drawing/2014/main" id="{95037F1C-2BE3-4296-AFC3-09BFD8FC5B61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4356100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0" name="Oval 289">
            <a:extLst>
              <a:ext uri="{FF2B5EF4-FFF2-40B4-BE49-F238E27FC236}">
                <a16:creationId xmlns:a16="http://schemas.microsoft.com/office/drawing/2014/main" id="{334FD2F6-1F9A-4BD8-9800-B1FDF17D7FA7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3932238" y="15065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B3D96930-78C3-4BEF-A53E-0D55F77499D5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3932238" y="29400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67A11F7E-2AF9-4983-A84D-1119984D45A3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3932238" y="54689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04" name="Isosceles Triangle 303">
            <a:extLst>
              <a:ext uri="{FF2B5EF4-FFF2-40B4-BE49-F238E27FC236}">
                <a16:creationId xmlns:a16="http://schemas.microsoft.com/office/drawing/2014/main" id="{B74CF91B-69D0-4A9D-806B-876E97F32CC4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8866188" y="2598738"/>
            <a:ext cx="114300" cy="114300"/>
          </a:xfrm>
          <a:prstGeom prst="triangle">
            <a:avLst/>
          </a:prstGeom>
          <a:solidFill>
            <a:srgbClr val="FFCD00"/>
          </a:solidFill>
          <a:ln w="9525" algn="ctr">
            <a:solidFill>
              <a:srgbClr val="FFCD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D6644F86-759A-4E97-AA23-080883A3A207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11052175" y="6415810"/>
            <a:ext cx="114300" cy="1143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6" name="Oval 295">
            <a:extLst>
              <a:ext uri="{FF2B5EF4-FFF2-40B4-BE49-F238E27FC236}">
                <a16:creationId xmlns:a16="http://schemas.microsoft.com/office/drawing/2014/main" id="{4930ECEE-6EAA-4A68-B8A9-28002A46CB2D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3086100" y="1506538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882DD379-1340-4312-BD16-26BA93ED0348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5060950" y="4375150"/>
            <a:ext cx="114300" cy="1143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05" name="Isosceles Triangle 304">
            <a:extLst>
              <a:ext uri="{FF2B5EF4-FFF2-40B4-BE49-F238E27FC236}">
                <a16:creationId xmlns:a16="http://schemas.microsoft.com/office/drawing/2014/main" id="{308D1AA3-7A32-4970-B771-3DB0D4663AAA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9853613" y="4033838"/>
            <a:ext cx="114300" cy="114300"/>
          </a:xfrm>
          <a:prstGeom prst="triangle">
            <a:avLst/>
          </a:prstGeom>
          <a:solidFill>
            <a:srgbClr val="FFCD00"/>
          </a:solidFill>
          <a:ln w="9525" algn="ctr">
            <a:solidFill>
              <a:srgbClr val="FFCD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9" name="Isosceles Triangle 298">
            <a:extLst>
              <a:ext uri="{FF2B5EF4-FFF2-40B4-BE49-F238E27FC236}">
                <a16:creationId xmlns:a16="http://schemas.microsoft.com/office/drawing/2014/main" id="{6BC02DE8-272D-4F51-9A19-F932ADB0EEB1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7880350" y="1198563"/>
            <a:ext cx="114300" cy="114300"/>
          </a:xfrm>
          <a:prstGeom prst="triangle">
            <a:avLst/>
          </a:prstGeom>
          <a:solidFill>
            <a:srgbClr val="FFCD00"/>
          </a:solidFill>
          <a:ln w="9525" algn="ctr">
            <a:solidFill>
              <a:srgbClr val="FFCD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3860C989-B24D-45FF-9D55-42C92AE5E930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 flipV="1">
            <a:off x="3568700" y="3076575"/>
            <a:ext cx="420688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62B65CD6-99B3-4393-BFDE-71A475763B42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 flipH="1" flipV="1">
            <a:off x="5540375" y="1643063"/>
            <a:ext cx="24765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C605028D-8600-4D27-8E89-4AD2CA8A8C9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 flipH="1" flipV="1">
            <a:off x="8923338" y="4511675"/>
            <a:ext cx="257175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2AECC610-90CC-4F1B-9261-09F89D51408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 flipV="1">
            <a:off x="5186363" y="1643063"/>
            <a:ext cx="71438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C1941D43-0588-4156-9503-402A24BE1F5D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 flipV="1">
            <a:off x="4340225" y="1643063"/>
            <a:ext cx="73025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1B3BABAE-ECCE-404E-A582-F509FDADD85F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H="1" flipV="1">
            <a:off x="4413250" y="1643063"/>
            <a:ext cx="155575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898109D0-76F9-4AFD-9135-CC13E5329C19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 flipV="1">
            <a:off x="3736975" y="1643063"/>
            <a:ext cx="252413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1E824EB5-76C2-4B48-93C1-4E6D043B2ACB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H="1" flipV="1">
            <a:off x="5540374" y="3076575"/>
            <a:ext cx="134938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742370FB-99EB-45B1-B5C8-32A061D85A95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 flipV="1">
            <a:off x="2919413" y="1643063"/>
            <a:ext cx="223838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A5C33841-C140-48AD-AEFA-A228BBE3EF7D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 flipH="1" flipV="1">
            <a:off x="4130675" y="3076575"/>
            <a:ext cx="13335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C3E80217-B968-4764-8FB6-B5535B83835E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 flipV="1">
            <a:off x="5265738" y="3076575"/>
            <a:ext cx="13335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4C035D37-BD03-4B1B-B714-3EA8EF64910C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 flipV="1">
            <a:off x="6989763" y="4511675"/>
            <a:ext cx="384175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346B786B-5F26-4918-B827-4FB007D79B1F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 flipV="1">
            <a:off x="7777163" y="4511675"/>
            <a:ext cx="160338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C8419F7D-DADC-4770-B4C2-ED11760C8D15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 flipH="1" flipV="1">
            <a:off x="8078788" y="4511675"/>
            <a:ext cx="384175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D5C2E7F-2033-4C7D-85C5-DF1664DC5FF6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 flipH="1" flipV="1">
            <a:off x="7937500" y="3076575"/>
            <a:ext cx="117475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607A11B9-0CAD-422C-8D93-D3ACFF1A82D6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 flipH="1" flipV="1">
            <a:off x="4413250" y="3076575"/>
            <a:ext cx="29210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AB5AD95A-03AD-413C-923A-6C88BD6BEB9C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 flipV="1">
            <a:off x="7258050" y="3076575"/>
            <a:ext cx="115888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428" name="Plassholder for tekst 2">
            <a:extLst>
              <a:ext uri="{FF2B5EF4-FFF2-40B4-BE49-F238E27FC236}">
                <a16:creationId xmlns:a16="http://schemas.microsoft.com/office/drawing/2014/main" id="{1FDB69EE-6EF3-46C0-A747-A5287CA25ACD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4208463" y="5040313"/>
            <a:ext cx="26670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>
                <a:latin typeface="+mn-lt"/>
                <a:cs typeface="Arial" panose="020B0604020202020204" pitchFamily="34" charset="0"/>
                <a:sym typeface="+mn-lt"/>
              </a:rPr>
              <a:t>Sprint</a:t>
            </a:r>
            <a:endParaRPr lang="nb-NO" sz="8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37" name="Plassholder for tekst 2">
            <a:extLst>
              <a:ext uri="{FF2B5EF4-FFF2-40B4-BE49-F238E27FC236}">
                <a16:creationId xmlns:a16="http://schemas.microsoft.com/office/drawing/2014/main" id="{215AED30-C197-462E-BE5E-80A07D69C8A4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8453438" y="2735263"/>
            <a:ext cx="9398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 b="1"/>
              <a:t>20.04: </a:t>
            </a:r>
            <a:r>
              <a:rPr lang="nb-NO" altLang="en-US" sz="1200" b="1">
                <a:latin typeface="+mn-lt"/>
                <a:sym typeface="+mn-lt"/>
              </a:rPr>
              <a:t>Ferdig</a:t>
            </a:r>
            <a:endParaRPr lang="nb-NO" sz="1200" b="1">
              <a:latin typeface="+mn-lt"/>
              <a:sym typeface="+mn-lt"/>
            </a:endParaRPr>
          </a:p>
        </p:txBody>
      </p:sp>
      <p:sp>
        <p:nvSpPr>
          <p:cNvPr id="391" name="Plassholder for tekst 2">
            <a:extLst>
              <a:ext uri="{FF2B5EF4-FFF2-40B4-BE49-F238E27FC236}">
                <a16:creationId xmlns:a16="http://schemas.microsoft.com/office/drawing/2014/main" id="{8DF25A82-C222-4F37-9DFE-DEC2DEE726F8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350838" y="2571750"/>
            <a:ext cx="12366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 b="1"/>
              <a:t>Prosjektøkonomi</a:t>
            </a:r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63" name="Plassholder for tekst 2">
            <a:extLst>
              <a:ext uri="{FF2B5EF4-FFF2-40B4-BE49-F238E27FC236}">
                <a16:creationId xmlns:a16="http://schemas.microsoft.com/office/drawing/2014/main" id="{EA2EABCC-A703-4BDE-BFEA-8711909B1BE7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4154488" y="1679575"/>
            <a:ext cx="373063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9711C-27AB-47A8-B5C1-D68B7A890256}" type="datetime'''''''18.''''03''''''''''''''''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.03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Allmøte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95" name="Plassholder for tekst 2">
            <a:extLst>
              <a:ext uri="{FF2B5EF4-FFF2-40B4-BE49-F238E27FC236}">
                <a16:creationId xmlns:a16="http://schemas.microsoft.com/office/drawing/2014/main" id="{AB905B1A-FEC0-4A51-B024-FDBBB16AF290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5080000" y="3113088"/>
            <a:ext cx="373063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AA727C-C68D-465E-88B1-4A87599F2AC3}" type="datetime'''''''2''''''''''''''''''''''''5''''''''.''''''''''0''''3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.03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Allmøte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41" name="Plassholder for tekst 2">
            <a:extLst>
              <a:ext uri="{FF2B5EF4-FFF2-40B4-BE49-F238E27FC236}">
                <a16:creationId xmlns:a16="http://schemas.microsoft.com/office/drawing/2014/main" id="{147ED188-1EAD-4261-BFE8-9CC44D1F1666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6167438" y="6353175"/>
            <a:ext cx="71755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/>
              <a:t>Påskeferie</a:t>
            </a:r>
            <a:endParaRPr lang="nb-NO" sz="12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38" name="Plassholder for tekst 2">
            <a:extLst>
              <a:ext uri="{FF2B5EF4-FFF2-40B4-BE49-F238E27FC236}">
                <a16:creationId xmlns:a16="http://schemas.microsoft.com/office/drawing/2014/main" id="{009809E5-B28A-4A43-BEA9-62A8B8042475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7400925" y="4548188"/>
            <a:ext cx="7524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58226B-A683-41F2-B65D-5B667C415478}" type="datetime'''''''''''''''''''''1''''2''''''.''''''04''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4</a:t>
            </a:fld>
            <a:br>
              <a:rPr lang="nb-NO" altLang="en-US" sz="800" b="1"/>
            </a:br>
            <a:r>
              <a:rPr lang="nb-NO" altLang="en-US" sz="800" b="1"/>
              <a:t>Styringsgruppe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20" name="Plassholder for tekst 2">
            <a:extLst>
              <a:ext uri="{FF2B5EF4-FFF2-40B4-BE49-F238E27FC236}">
                <a16:creationId xmlns:a16="http://schemas.microsoft.com/office/drawing/2014/main" id="{A886F398-454E-4D13-BEA3-5F431FFBA7B9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3219450" y="2171700"/>
            <a:ext cx="196215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>
                <a:latin typeface="+mn-lt"/>
                <a:cs typeface="Arial" panose="020B0604020202020204" pitchFamily="34" charset="0"/>
                <a:sym typeface="+mn-lt"/>
              </a:rPr>
              <a:t>Foreløpig GAP-analyse samt </a:t>
            </a:r>
            <a:r>
              <a:rPr lang="nb-NO" altLang="en-US" sz="800" err="1">
                <a:latin typeface="+mn-lt"/>
                <a:cs typeface="Arial" panose="020B0604020202020204" pitchFamily="34" charset="0"/>
                <a:sym typeface="+mn-lt"/>
              </a:rPr>
              <a:t>innspillsrunde</a:t>
            </a:r>
            <a:endParaRPr lang="nb-NO" sz="8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45" name="Plassholder for tekst 2">
            <a:extLst>
              <a:ext uri="{FF2B5EF4-FFF2-40B4-BE49-F238E27FC236}">
                <a16:creationId xmlns:a16="http://schemas.microsoft.com/office/drawing/2014/main" id="{7C996063-BCA2-4B5A-A2A2-50CAB3817199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8035925" y="1165225"/>
            <a:ext cx="9398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6159EB-8C66-4814-AB58-32C7FF57F85D}" type="datetime'''1''''''''''2''''''''.0''''''''''''''''''''''''''''4'''">
              <a:rPr lang="nb-NO" altLang="en-US" sz="12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.04</a:t>
            </a:fld>
            <a:r>
              <a:rPr lang="nb-NO" altLang="en-US" sz="1200" b="1"/>
              <a:t>: </a:t>
            </a:r>
            <a:r>
              <a:rPr lang="nb-NO" altLang="en-US" sz="1200" b="1">
                <a:latin typeface="+mn-lt"/>
                <a:cs typeface="Arial" panose="020B0604020202020204" pitchFamily="34" charset="0"/>
                <a:sym typeface="+mn-lt"/>
              </a:rPr>
              <a:t>Ferdig</a:t>
            </a:r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26" name="Plassholder for tekst 2">
            <a:extLst>
              <a:ext uri="{FF2B5EF4-FFF2-40B4-BE49-F238E27FC236}">
                <a16:creationId xmlns:a16="http://schemas.microsoft.com/office/drawing/2014/main" id="{32E55F27-9BD0-474F-ACFA-3F336FB729BD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350838" y="1171575"/>
            <a:ext cx="16049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 b="1"/>
              <a:t>Lønn og lønnsnær HR</a:t>
            </a:r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01" name="Plassholder for tekst 2">
            <a:extLst>
              <a:ext uri="{FF2B5EF4-FFF2-40B4-BE49-F238E27FC236}">
                <a16:creationId xmlns:a16="http://schemas.microsoft.com/office/drawing/2014/main" id="{7B3E988F-9912-4958-B15D-8E40FF15ED9A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7678738" y="3113088"/>
            <a:ext cx="752475" cy="48895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17E100-1B5C-405F-8662-6459FCC88B37}" type="datetime'''''''''''''''1''''''''''2''''.''''04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4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Styringsgruppe</a:t>
            </a:r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Tent. </a:t>
            </a:r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behandling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54" name="Plassholder for tekst 2">
            <a:extLst>
              <a:ext uri="{FF2B5EF4-FFF2-40B4-BE49-F238E27FC236}">
                <a16:creationId xmlns:a16="http://schemas.microsoft.com/office/drawing/2014/main" id="{402DA58E-181C-4263-ACF6-1271172550A8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5616575" y="5040313"/>
            <a:ext cx="1962150" cy="122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>
                <a:cs typeface="Arial" panose="020B0604020202020204" pitchFamily="34" charset="0"/>
                <a:sym typeface="+mn-lt"/>
              </a:rPr>
              <a:t>Foreløpig GAP-analyse samt </a:t>
            </a:r>
            <a:r>
              <a:rPr lang="nb-NO" altLang="en-US" sz="800" err="1">
                <a:cs typeface="Arial" panose="020B0604020202020204" pitchFamily="34" charset="0"/>
                <a:sym typeface="+mn-lt"/>
              </a:rPr>
              <a:t>innspillsrunde</a:t>
            </a:r>
            <a:endParaRPr lang="nb-NO" sz="800"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02" name="Plassholder for tekst 2">
            <a:extLst>
              <a:ext uri="{FF2B5EF4-FFF2-40B4-BE49-F238E27FC236}">
                <a16:creationId xmlns:a16="http://schemas.microsoft.com/office/drawing/2014/main" id="{11609233-152D-4EF2-B787-E459B6EEA02D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9021763" y="2936875"/>
            <a:ext cx="195580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 b="1"/>
              <a:t>20.04 </a:t>
            </a:r>
            <a:r>
              <a:rPr lang="nb-NO" sz="800" b="1">
                <a:sym typeface="+mn-lt"/>
              </a:rPr>
              <a:t>SG: Forslag sendt org. behandling</a:t>
            </a:r>
            <a:endParaRPr lang="nb-NO" sz="800">
              <a:latin typeface="+mn-lt"/>
              <a:sym typeface="+mn-lt"/>
            </a:endParaRPr>
          </a:p>
        </p:txBody>
      </p:sp>
      <p:sp>
        <p:nvSpPr>
          <p:cNvPr id="355" name="Plassholder for tekst 2">
            <a:extLst>
              <a:ext uri="{FF2B5EF4-FFF2-40B4-BE49-F238E27FC236}">
                <a16:creationId xmlns:a16="http://schemas.microsoft.com/office/drawing/2014/main" id="{422B5A83-1C84-43F3-B250-FAD774CA9B1C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350838" y="2020888"/>
            <a:ext cx="11493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/>
              <a:t>Fakultetsprosess</a:t>
            </a:r>
            <a:br>
              <a:rPr lang="nb-NO" altLang="en-US" sz="1200"/>
            </a:br>
            <a:endParaRPr lang="nb-NO" sz="1200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03" name="Plassholder for tekst 2">
            <a:extLst>
              <a:ext uri="{FF2B5EF4-FFF2-40B4-BE49-F238E27FC236}">
                <a16:creationId xmlns:a16="http://schemas.microsoft.com/office/drawing/2014/main" id="{62F3E3B4-6FE5-4CEA-80FA-7D034F34E5AA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350838" y="2913063"/>
            <a:ext cx="3984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>
                <a:latin typeface="+mn-lt"/>
                <a:cs typeface="Arial" panose="020B0604020202020204" pitchFamily="34" charset="0"/>
                <a:sym typeface="+mn-lt"/>
              </a:rPr>
              <a:t>Møter</a:t>
            </a:r>
            <a:br>
              <a:rPr lang="nb-NO" altLang="en-US" sz="1200">
                <a:latin typeface="+mn-lt"/>
                <a:cs typeface="Arial" panose="020B0604020202020204" pitchFamily="34" charset="0"/>
                <a:sym typeface="+mn-lt"/>
              </a:rPr>
            </a:br>
            <a:endParaRPr lang="nb-NO" sz="12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98" name="Plassholder for tekst 2">
            <a:extLst>
              <a:ext uri="{FF2B5EF4-FFF2-40B4-BE49-F238E27FC236}">
                <a16:creationId xmlns:a16="http://schemas.microsoft.com/office/drawing/2014/main" id="{F3BCC762-3DCE-4A01-93EC-2CBFA158532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5494338" y="3113088"/>
            <a:ext cx="361950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4A995B-C42A-408E-9CA3-556E2871BABD}" type="datetime'''''2''''''6''''''''''''''''''''''''''''''''.''''0''3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03</a:t>
            </a:fld>
            <a:br>
              <a:rPr lang="nb-NO" altLang="en-US" sz="800" b="1"/>
            </a:br>
            <a:r>
              <a:rPr lang="nb-NO" altLang="en-US" sz="800" b="1"/>
              <a:t>SESAM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04" name="Plassholder for tekst 2">
            <a:extLst>
              <a:ext uri="{FF2B5EF4-FFF2-40B4-BE49-F238E27FC236}">
                <a16:creationId xmlns:a16="http://schemas.microsoft.com/office/drawing/2014/main" id="{8A23B423-26C1-48CC-A82E-65EB8D275945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3190875" y="3605213"/>
            <a:ext cx="330200" cy="152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000">
                <a:latin typeface="+mn-lt"/>
                <a:cs typeface="Arial" panose="020B0604020202020204" pitchFamily="34" charset="0"/>
                <a:sym typeface="+mn-lt"/>
              </a:rPr>
              <a:t>Sprint</a:t>
            </a:r>
            <a:endParaRPr lang="nb-NO" sz="10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53" name="Plassholder for tekst 2">
            <a:extLst>
              <a:ext uri="{FF2B5EF4-FFF2-40B4-BE49-F238E27FC236}">
                <a16:creationId xmlns:a16="http://schemas.microsoft.com/office/drawing/2014/main" id="{12BDB19B-2C4E-4643-BFD0-070ECE150BFE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4770438" y="3605213"/>
            <a:ext cx="196215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>
                <a:cs typeface="Arial" panose="020B0604020202020204" pitchFamily="34" charset="0"/>
                <a:sym typeface="+mn-lt"/>
              </a:rPr>
              <a:t>Foreløpig GAP-analyse samt </a:t>
            </a:r>
            <a:r>
              <a:rPr lang="nb-NO" altLang="en-US" sz="800" err="1">
                <a:cs typeface="Arial" panose="020B0604020202020204" pitchFamily="34" charset="0"/>
                <a:sym typeface="+mn-lt"/>
              </a:rPr>
              <a:t>innspillsrunde</a:t>
            </a:r>
            <a:endParaRPr lang="nb-NO" sz="800">
              <a:cs typeface="Arial" panose="020B0604020202020204" pitchFamily="34" charset="0"/>
              <a:sym typeface="+mn-lt"/>
            </a:endParaRPr>
          </a:p>
        </p:txBody>
      </p:sp>
      <p:sp>
        <p:nvSpPr>
          <p:cNvPr id="435" name="Plassholder for tekst 2">
            <a:extLst>
              <a:ext uri="{FF2B5EF4-FFF2-40B4-BE49-F238E27FC236}">
                <a16:creationId xmlns:a16="http://schemas.microsoft.com/office/drawing/2014/main" id="{9E6A323F-8C04-4BAB-B755-A13A1FE12B66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6619875" y="4548188"/>
            <a:ext cx="739775" cy="3667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98A134-615C-4B65-8F99-8C2BC304E8F3}" type="datetime'''0''''''''''''''''''8''''.''''04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.04</a:t>
            </a:fld>
            <a:br>
              <a:rPr lang="nb-NO" altLang="en-US" sz="800" b="1"/>
            </a:br>
            <a:r>
              <a:rPr lang="nb-NO" altLang="en-US" sz="800" b="1"/>
              <a:t>ALF og Allmøte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51" name="Plassholder for tekst 2">
            <a:extLst>
              <a:ext uri="{FF2B5EF4-FFF2-40B4-BE49-F238E27FC236}">
                <a16:creationId xmlns:a16="http://schemas.microsoft.com/office/drawing/2014/main" id="{B953CC6B-4F9E-4BBD-B2BE-6D5E2EC22088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5359400" y="5605463"/>
            <a:ext cx="361950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561864-3CC5-460E-82BA-92EDAED16F9A}" type="datetime'2''6''''''.''''''''''''''''03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03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SESAM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50" name="Plassholder for tekst 2">
            <a:extLst>
              <a:ext uri="{FF2B5EF4-FFF2-40B4-BE49-F238E27FC236}">
                <a16:creationId xmlns:a16="http://schemas.microsoft.com/office/drawing/2014/main" id="{DB4B2104-BE29-4CE5-AA9A-C50CE79907E5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8774113" y="4548188"/>
            <a:ext cx="814388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 b="1"/>
              <a:t>20.04</a:t>
            </a:r>
            <a:br>
              <a:rPr lang="nb-NO" altLang="en-US" sz="800" b="1"/>
            </a:br>
            <a:r>
              <a:rPr lang="nb-NO" altLang="en-US" sz="800" b="1"/>
              <a:t>Styringsgruppe: </a:t>
            </a:r>
            <a:br>
              <a:rPr lang="nb-NO" altLang="en-US" sz="800" b="1"/>
            </a:br>
            <a:r>
              <a:rPr lang="nb-NO" altLang="en-US" sz="800" b="1"/>
              <a:t>Tent. behandling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33" name="Plassholder for tekst 2">
            <a:extLst>
              <a:ext uri="{FF2B5EF4-FFF2-40B4-BE49-F238E27FC236}">
                <a16:creationId xmlns:a16="http://schemas.microsoft.com/office/drawing/2014/main" id="{5100A3E6-322B-4CB9-896F-F6B9925520D7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5813425" y="4548188"/>
            <a:ext cx="582613" cy="2444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3C1529-0A13-400D-AA83-E78B662CCD48}" type="datetime'3''''''''''''''''''''''''''''''''''''0''''.0''''''''''3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3</a:t>
            </a:fld>
            <a:br>
              <a:rPr lang="nb-NO" altLang="en-US" sz="800" b="1"/>
            </a:br>
            <a:r>
              <a:rPr lang="nb-NO" altLang="en-US" sz="800" b="1"/>
              <a:t>Dekanmøtet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57" name="Plassholder for tekst 2">
            <a:extLst>
              <a:ext uri="{FF2B5EF4-FFF2-40B4-BE49-F238E27FC236}">
                <a16:creationId xmlns:a16="http://schemas.microsoft.com/office/drawing/2014/main" id="{E7ED4AB1-DFBF-424D-AE73-31D769CB9A9F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7037388" y="5605463"/>
            <a:ext cx="674688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6698C1-BA87-4402-AA99-05357BBEE153}" type="datetime'''''''''''0''''8''.0''''''''''''''''''''''''''''4''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.04</a:t>
            </a:fld>
            <a:br>
              <a:rPr lang="nb-NO" altLang="en-US" sz="800" b="1"/>
            </a:br>
            <a:r>
              <a:rPr lang="nb-NO" altLang="en-US" sz="800" b="1"/>
              <a:t>ALF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52" name="Plassholder for tekst 2">
            <a:extLst>
              <a:ext uri="{FF2B5EF4-FFF2-40B4-BE49-F238E27FC236}">
                <a16:creationId xmlns:a16="http://schemas.microsoft.com/office/drawing/2014/main" id="{C50A4940-00EE-41EB-AB54-BD5185EB5469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10009188" y="4371975"/>
            <a:ext cx="1655763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 b="1"/>
              <a:t>27.04 SG: </a:t>
            </a:r>
            <a:r>
              <a:rPr lang="nb-NO" sz="800" b="1">
                <a:sym typeface="+mn-lt"/>
              </a:rPr>
              <a:t>Forslag org. behandling</a:t>
            </a:r>
            <a:endParaRPr lang="nb-NO" sz="800" b="1">
              <a:latin typeface="+mn-lt"/>
              <a:sym typeface="+mn-lt"/>
            </a:endParaRPr>
          </a:p>
        </p:txBody>
      </p:sp>
      <p:sp useBgFill="1">
        <p:nvSpPr>
          <p:cNvPr id="359" name="Plassholder for tekst 2">
            <a:extLst>
              <a:ext uri="{FF2B5EF4-FFF2-40B4-BE49-F238E27FC236}">
                <a16:creationId xmlns:a16="http://schemas.microsoft.com/office/drawing/2014/main" id="{7A5CAD4D-25A0-4632-A5A9-40FF4C4FA489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7808913" y="5605463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910636-D01F-4E34-A3B6-4322E3E4D152}" type="datetime'''''''''''''1''''''''2''''''''''''''.''''''''''0''''''''4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4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SG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89" name="Plassholder for tekst 2">
            <a:extLst>
              <a:ext uri="{FF2B5EF4-FFF2-40B4-BE49-F238E27FC236}">
                <a16:creationId xmlns:a16="http://schemas.microsoft.com/office/drawing/2014/main" id="{00E37678-7236-4CC2-B50A-98EFA1B253C3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4719638" y="4548188"/>
            <a:ext cx="798513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152D91-FCD6-4D8E-8AC1-4D5D875E6814}" type="datetime'2''''''''''''''''''''''''''''''''''3''.''''0''''3''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03</a:t>
            </a:fld>
            <a:br>
              <a:rPr lang="nb-NO" altLang="en-US" sz="800" b="1"/>
            </a:br>
            <a:r>
              <a:rPr lang="nb-NO" sz="800" b="1">
                <a:cs typeface="Arial" panose="020B0604020202020204" pitchFamily="34" charset="0"/>
                <a:sym typeface="+mn-lt"/>
              </a:rPr>
              <a:t>Innføringsledere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49" name="Plassholder for tekst 2">
            <a:extLst>
              <a:ext uri="{FF2B5EF4-FFF2-40B4-BE49-F238E27FC236}">
                <a16:creationId xmlns:a16="http://schemas.microsoft.com/office/drawing/2014/main" id="{691DCAA7-0EDE-474F-8628-78D234627608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8272463" y="5605463"/>
            <a:ext cx="361950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9CF916-A3F4-451A-8BA0-5BC21069C81E}" type="datetime'16.''''''''0''''''''''''''4''''''''''''''''''''''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04</a:t>
            </a:fld>
            <a:br>
              <a:rPr lang="nb-NO" altLang="en-US" sz="800" b="1"/>
            </a:br>
            <a:r>
              <a:rPr lang="nb-NO" altLang="en-US" sz="800" b="1"/>
              <a:t>SESAM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36" name="Plassholder for tekst 2">
            <a:extLst>
              <a:ext uri="{FF2B5EF4-FFF2-40B4-BE49-F238E27FC236}">
                <a16:creationId xmlns:a16="http://schemas.microsoft.com/office/drawing/2014/main" id="{7F013F8B-0F0D-42F4-AA46-6C7CCB42DCA5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9974263" y="5605463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F46FBE-7043-4F8B-9CCF-A6C3DEB0B91F}" type="datetime'''''''''''''''''''2''8''.''''''''''''''''''''0''4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04</a:t>
            </a:fld>
            <a:br>
              <a:rPr lang="nb-NO" altLang="en-US" sz="800" b="1"/>
            </a:br>
            <a:r>
              <a:rPr lang="nb-NO" altLang="en-US" sz="800" b="1"/>
              <a:t>ALF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62" name="Plassholder for tekst 2">
            <a:extLst>
              <a:ext uri="{FF2B5EF4-FFF2-40B4-BE49-F238E27FC236}">
                <a16:creationId xmlns:a16="http://schemas.microsoft.com/office/drawing/2014/main" id="{AE44C4F1-A3B0-42C3-9A7C-844537940B00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8777289" y="5637574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 b="1"/>
              <a:t>20.04</a:t>
            </a:r>
            <a:br>
              <a:rPr lang="nb-NO" altLang="en-US" sz="800" b="1"/>
            </a:br>
            <a:r>
              <a:rPr lang="nb-NO" altLang="en-US" sz="800" b="1"/>
              <a:t>SG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52" name="Plassholder for tekst 2">
            <a:extLst>
              <a:ext uri="{FF2B5EF4-FFF2-40B4-BE49-F238E27FC236}">
                <a16:creationId xmlns:a16="http://schemas.microsoft.com/office/drawing/2014/main" id="{D9BAE7F6-214B-4193-81AC-5A7A74794839}"/>
              </a:ext>
            </a:extLst>
          </p:cNvPr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4705350" y="3113088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0EFEAD-B61B-4E17-BF80-5F2B5187B053}" type="datetime'''''1''8''''''''''.0''''''3''''''''''''''''''''''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.03</a:t>
            </a:fld>
            <a:br>
              <a:rPr lang="nb-NO" altLang="en-US" sz="800" b="1"/>
            </a:br>
            <a:r>
              <a:rPr lang="nb-NO" altLang="en-US" sz="800" b="1"/>
              <a:t>ALF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66" name="Plassholder for tekst 2">
            <a:extLst>
              <a:ext uri="{FF2B5EF4-FFF2-40B4-BE49-F238E27FC236}">
                <a16:creationId xmlns:a16="http://schemas.microsoft.com/office/drawing/2014/main" id="{15EB4EA6-A1D3-4738-A1C2-ECED508CDE0B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9272588" y="5605463"/>
            <a:ext cx="361950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94" name="Plassholder for tekst 2">
            <a:extLst>
              <a:ext uri="{FF2B5EF4-FFF2-40B4-BE49-F238E27FC236}">
                <a16:creationId xmlns:a16="http://schemas.microsoft.com/office/drawing/2014/main" id="{D53F6CD2-27EE-423C-AB2E-75B80DB60032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3865563" y="3113088"/>
            <a:ext cx="798513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745F0F-A106-421A-86DB-F4019EACBA5C}" type="datetime'''''''''1''''''''6''''''''''''.''0''''''''''3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03</a:t>
            </a:fld>
            <a:br>
              <a:rPr lang="nb-NO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sz="800" b="1">
                <a:cs typeface="Arial" panose="020B0604020202020204" pitchFamily="34" charset="0"/>
                <a:sym typeface="+mn-lt"/>
              </a:rPr>
              <a:t>Innføringsledere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69" name="Plassholder for tekst 2">
            <a:extLst>
              <a:ext uri="{FF2B5EF4-FFF2-40B4-BE49-F238E27FC236}">
                <a16:creationId xmlns:a16="http://schemas.microsoft.com/office/drawing/2014/main" id="{5143C0C1-7EEC-4384-9096-271A973F86C6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9675813" y="5605463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 b="1"/>
              <a:t>27.04</a:t>
            </a:r>
            <a:br>
              <a:rPr lang="nb-NO" altLang="en-US" sz="800" b="1"/>
            </a:br>
            <a:r>
              <a:rPr lang="nb-NO" altLang="en-US" sz="800" b="1"/>
              <a:t>SG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46" name="Plassholder for tekst 2">
            <a:extLst>
              <a:ext uri="{FF2B5EF4-FFF2-40B4-BE49-F238E27FC236}">
                <a16:creationId xmlns:a16="http://schemas.microsoft.com/office/drawing/2014/main" id="{346E90AE-98AB-4191-8766-94B8D567AF84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350838" y="4889500"/>
            <a:ext cx="11493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/>
              <a:t>Fakultetsprosess</a:t>
            </a:r>
            <a:br>
              <a:rPr lang="nb-NO" altLang="en-US" sz="1200"/>
            </a:br>
            <a:endParaRPr lang="nb-NO" sz="1200"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70" name="Plassholder for tekst 2">
            <a:extLst>
              <a:ext uri="{FF2B5EF4-FFF2-40B4-BE49-F238E27FC236}">
                <a16:creationId xmlns:a16="http://schemas.microsoft.com/office/drawing/2014/main" id="{2FEE6742-4BE3-478E-86F0-B216CE9F3156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0272713" y="5605463"/>
            <a:ext cx="361950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br>
              <a:rPr lang="nb-NO" altLang="en-US" sz="800" b="1"/>
            </a:b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24" name="Plassholder for tekst 2">
            <a:extLst>
              <a:ext uri="{FF2B5EF4-FFF2-40B4-BE49-F238E27FC236}">
                <a16:creationId xmlns:a16="http://schemas.microsoft.com/office/drawing/2014/main" id="{AA12FB1F-7D44-439E-9A55-BE1C8C7CFA4B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350838" y="1479550"/>
            <a:ext cx="3984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1200">
                <a:latin typeface="+mn-lt"/>
                <a:cs typeface="Arial" panose="020B0604020202020204" pitchFamily="34" charset="0"/>
                <a:sym typeface="+mn-lt"/>
              </a:rPr>
              <a:t>Møter</a:t>
            </a:r>
            <a:br>
              <a:rPr lang="nb-NO" sz="1200">
                <a:latin typeface="+mn-lt"/>
                <a:cs typeface="Arial" panose="020B0604020202020204" pitchFamily="34" charset="0"/>
                <a:sym typeface="+mn-lt"/>
              </a:rPr>
            </a:br>
            <a:endParaRPr lang="nb-NO" sz="12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55" name="Plassholder for tekst 2">
            <a:extLst>
              <a:ext uri="{FF2B5EF4-FFF2-40B4-BE49-F238E27FC236}">
                <a16:creationId xmlns:a16="http://schemas.microsoft.com/office/drawing/2014/main" id="{B193AC91-78A7-448D-A66F-5E009E49B382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909300" y="5605463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br>
              <a:rPr lang="nb-NO" altLang="en-US" sz="800" b="1"/>
            </a:br>
            <a:r>
              <a:rPr lang="nb-NO" altLang="en-US" sz="800" b="1"/>
              <a:t>12-05</a:t>
            </a:r>
            <a:br>
              <a:rPr lang="nb-NO" altLang="en-US" sz="800" b="1"/>
            </a:br>
            <a:r>
              <a:rPr lang="nb-NO" altLang="en-US" sz="800" b="1"/>
              <a:t>ALF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56" name="Plassholder for tekst 2">
            <a:extLst>
              <a:ext uri="{FF2B5EF4-FFF2-40B4-BE49-F238E27FC236}">
                <a16:creationId xmlns:a16="http://schemas.microsoft.com/office/drawing/2014/main" id="{807FEA01-C206-4A17-A62B-E6AA96A7BD7D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2205038" y="2171700"/>
            <a:ext cx="330200" cy="152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000">
                <a:latin typeface="+mn-lt"/>
                <a:cs typeface="Arial" panose="020B0604020202020204" pitchFamily="34" charset="0"/>
                <a:sym typeface="+mn-lt"/>
              </a:rPr>
              <a:t>Sprint</a:t>
            </a:r>
            <a:endParaRPr lang="nb-NO" sz="1000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90" name="Plassholder for tekst 2">
            <a:extLst>
              <a:ext uri="{FF2B5EF4-FFF2-40B4-BE49-F238E27FC236}">
                <a16:creationId xmlns:a16="http://schemas.microsoft.com/office/drawing/2014/main" id="{72A55750-7D44-4B12-8CE6-7B95E525CF64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350838" y="5441950"/>
            <a:ext cx="147002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/>
              <a:t>Formelle møteplasser</a:t>
            </a:r>
            <a:br>
              <a:rPr lang="nb-NO" altLang="en-US" sz="1200"/>
            </a:br>
            <a:br>
              <a:rPr lang="nb-NO" altLang="en-US" sz="1200"/>
            </a:br>
            <a:endParaRPr lang="nb-NO" sz="12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12" name="Plassholder for tekst 2">
            <a:extLst>
              <a:ext uri="{FF2B5EF4-FFF2-40B4-BE49-F238E27FC236}">
                <a16:creationId xmlns:a16="http://schemas.microsoft.com/office/drawing/2014/main" id="{0902A0D7-CAAD-4A90-BB79-D23E462E3575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7245350" y="1679575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70B595-2B6D-4736-A1D0-F92799D702A6}" type="datetime'''''''''''''''''0''''''''''''8.0''''''''''''4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.04</a:t>
            </a:fld>
            <a:br>
              <a:rPr lang="nb-NO" altLang="en-US" sz="800" b="1"/>
            </a:br>
            <a:r>
              <a:rPr lang="nb-NO" altLang="en-US" sz="800" b="1"/>
              <a:t>ALF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92" name="Plassholder for tekst 2">
            <a:extLst>
              <a:ext uri="{FF2B5EF4-FFF2-40B4-BE49-F238E27FC236}">
                <a16:creationId xmlns:a16="http://schemas.microsoft.com/office/drawing/2014/main" id="{DC1B268F-3111-4A9D-AE9D-6858E2759D73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350838" y="871538"/>
            <a:ext cx="549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B75DA4-7707-49E5-957A-68941D0D054A}" type="datetime'''''''A''''ct''''''''''''''''''iv''i''''''''''''''t''''y'''''">
              <a:rPr lang="nb-NO" altLang="en-US" sz="12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49" name="Plassholder for tekst 2">
            <a:extLst>
              <a:ext uri="{FF2B5EF4-FFF2-40B4-BE49-F238E27FC236}">
                <a16:creationId xmlns:a16="http://schemas.microsoft.com/office/drawing/2014/main" id="{EAC217E9-4EF7-42EA-83BA-9C4D8D229348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350838" y="4348163"/>
            <a:ext cx="3984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>
                <a:latin typeface="+mn-lt"/>
                <a:cs typeface="Arial" panose="020B0604020202020204" pitchFamily="34" charset="0"/>
                <a:sym typeface="+mn-lt"/>
              </a:rPr>
              <a:t>Møter</a:t>
            </a:r>
            <a:br>
              <a:rPr lang="nb-NO" altLang="en-US" sz="1200">
                <a:latin typeface="+mn-lt"/>
                <a:cs typeface="Arial" panose="020B0604020202020204" pitchFamily="34" charset="0"/>
                <a:sym typeface="+mn-lt"/>
              </a:rPr>
            </a:br>
            <a:endParaRPr lang="nb-NO" sz="12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50" name="Plassholder for tekst 2">
            <a:extLst>
              <a:ext uri="{FF2B5EF4-FFF2-40B4-BE49-F238E27FC236}">
                <a16:creationId xmlns:a16="http://schemas.microsoft.com/office/drawing/2014/main" id="{14908966-B727-4259-9B24-72A35C992A06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4284663" y="5605463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AD5879-798A-44EF-B0D2-E41006F42A51}" type="datetime'''''''''1''8''''''''.0''''''''''''''''''''''''3''''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.03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ALF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13" name="Plassholder for tekst 2">
            <a:extLst>
              <a:ext uri="{FF2B5EF4-FFF2-40B4-BE49-F238E27FC236}">
                <a16:creationId xmlns:a16="http://schemas.microsoft.com/office/drawing/2014/main" id="{7C19B007-D455-42BE-A1F8-49257555DD12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4806950" y="1679575"/>
            <a:ext cx="75882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1A6E16-5930-4DF0-A36E-1A05775786EC}" type="datetime'''''''''2''''''''''4''''''''''''.''''''''''''0''''3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03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Frist for</a:t>
            </a:r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cs typeface="Arial" panose="020B0604020202020204" pitchFamily="34" charset="0"/>
                <a:sym typeface="+mn-lt"/>
              </a:rPr>
              <a:t>Innspill og GAP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00" name="Plassholder for tekst 2">
            <a:extLst>
              <a:ext uri="{FF2B5EF4-FFF2-40B4-BE49-F238E27FC236}">
                <a16:creationId xmlns:a16="http://schemas.microsoft.com/office/drawing/2014/main" id="{314CF842-6166-40AD-8BE4-7F21627240D3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6878638" y="3113088"/>
            <a:ext cx="75882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5CA4E4-AA68-44D0-8E5F-31AC19B33C53}" type="datetime'''''''''''''''0''''''''8''''''''''.0''''''''''''''''''''''''4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.04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cs typeface="Arial" panose="020B0604020202020204" pitchFamily="34" charset="0"/>
                <a:sym typeface="+mn-lt"/>
              </a:rPr>
              <a:t>Frist for</a:t>
            </a:r>
            <a:br>
              <a:rPr lang="nb-NO" altLang="en-US" sz="800" b="1"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cs typeface="Arial" panose="020B0604020202020204" pitchFamily="34" charset="0"/>
                <a:sym typeface="+mn-lt"/>
              </a:rPr>
              <a:t>Innspill og GAP</a:t>
            </a:r>
            <a:endParaRPr lang="nb-NO" sz="800" b="1">
              <a:cs typeface="Arial" panose="020B0604020202020204" pitchFamily="34" charset="0"/>
              <a:sym typeface="+mn-lt"/>
            </a:endParaRPr>
          </a:p>
        </p:txBody>
      </p:sp>
      <p:sp>
        <p:nvSpPr>
          <p:cNvPr id="417" name="Plassholder for tekst 2">
            <a:extLst>
              <a:ext uri="{FF2B5EF4-FFF2-40B4-BE49-F238E27FC236}">
                <a16:creationId xmlns:a16="http://schemas.microsoft.com/office/drawing/2014/main" id="{7590509E-1CCF-4718-B455-1AA93AA9E5D1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350838" y="4006850"/>
            <a:ext cx="1273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 b="1"/>
              <a:t>Behov til betaling</a:t>
            </a:r>
            <a:endParaRPr lang="nb-NO" sz="12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65" name="Plassholder for tekst 2">
            <a:extLst>
              <a:ext uri="{FF2B5EF4-FFF2-40B4-BE49-F238E27FC236}">
                <a16:creationId xmlns:a16="http://schemas.microsoft.com/office/drawing/2014/main" id="{5C869A0C-8510-4074-BDB8-551CED54EC3A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4568825" y="1679575"/>
            <a:ext cx="19685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 b="1"/>
              <a:t>ALF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23" name="Plassholder for tekst 2">
            <a:extLst>
              <a:ext uri="{FF2B5EF4-FFF2-40B4-BE49-F238E27FC236}">
                <a16:creationId xmlns:a16="http://schemas.microsoft.com/office/drawing/2014/main" id="{E9E2EFAD-4970-404E-939D-38810932E86B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9440863" y="4170363"/>
            <a:ext cx="9398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 b="1"/>
              <a:t>27.04: </a:t>
            </a:r>
            <a:r>
              <a:rPr lang="nb-NO" sz="1200" b="1">
                <a:latin typeface="+mn-lt"/>
                <a:sym typeface="+mn-lt"/>
              </a:rPr>
              <a:t>Ferdig</a:t>
            </a:r>
          </a:p>
        </p:txBody>
      </p:sp>
      <p:sp useBgFill="1">
        <p:nvSpPr>
          <p:cNvPr id="393" name="Plassholder for tekst 2">
            <a:extLst>
              <a:ext uri="{FF2B5EF4-FFF2-40B4-BE49-F238E27FC236}">
                <a16:creationId xmlns:a16="http://schemas.microsoft.com/office/drawing/2014/main" id="{F1C34DA5-EBDB-4EEF-AF69-5F2CB43A2972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3314700" y="3113088"/>
            <a:ext cx="509588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EAC73FA-90DC-41BA-9DBC-97016002082A}" type="datetime'''''''1''5''''''''''''''''''.''''''''''''0''''''''''''''''3'''">
              <a:rPr lang="nb-NO" altLang="en-US" sz="8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.03</a:t>
            </a:fld>
            <a:br>
              <a:rPr lang="nb-NO" altLang="en-US" sz="800" b="1"/>
            </a:br>
            <a:r>
              <a:rPr lang="nb-NO" altLang="en-US" sz="800" b="1"/>
              <a:t>Styringsgr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 b="1"/>
              <a:t>SESAM.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22" name="Plassholder for tekst 2">
            <a:extLst>
              <a:ext uri="{FF2B5EF4-FFF2-40B4-BE49-F238E27FC236}">
                <a16:creationId xmlns:a16="http://schemas.microsoft.com/office/drawing/2014/main" id="{78D740CE-7790-469D-9DFF-ED9D01C2653F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350838" y="3454400"/>
            <a:ext cx="11493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1200"/>
              <a:t>Fakultetsprosess</a:t>
            </a:r>
            <a:br>
              <a:rPr lang="nb-NO" altLang="en-US" sz="1200"/>
            </a:br>
            <a:endParaRPr lang="nb-NO" sz="1200"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44" name="Plassholder for tekst 2">
            <a:extLst>
              <a:ext uri="{FF2B5EF4-FFF2-40B4-BE49-F238E27FC236}">
                <a16:creationId xmlns:a16="http://schemas.microsoft.com/office/drawing/2014/main" id="{E9B4969D-099E-4EB5-A8FA-C44207C7ABC6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10301288" y="5040313"/>
            <a:ext cx="1192213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800">
                <a:cs typeface="Arial" panose="020B0604020202020204" pitchFamily="34" charset="0"/>
                <a:sym typeface="+mn-lt"/>
              </a:rPr>
              <a:t>Ev. justering GAP-analyse</a:t>
            </a:r>
          </a:p>
        </p:txBody>
      </p:sp>
      <p:sp useBgFill="1">
        <p:nvSpPr>
          <p:cNvPr id="388" name="Plassholder for tekst 2">
            <a:extLst>
              <a:ext uri="{FF2B5EF4-FFF2-40B4-BE49-F238E27FC236}">
                <a16:creationId xmlns:a16="http://schemas.microsoft.com/office/drawing/2014/main" id="{6E2775A9-2760-4A56-8CEB-EC5CC2A52A50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8035925" y="1503363"/>
            <a:ext cx="195580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11BCEB-070D-4478-8B49-77CD292D21DD}" type="datetime'''''''''''''12''''''''''''''.''''''0''''''4'''''''''''">
              <a:rPr lang="nb-NO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.04</a:t>
            </a:fld>
            <a:r>
              <a:rPr lang="nb-NO" altLang="en-US" sz="800" b="1"/>
              <a:t> </a:t>
            </a:r>
            <a:r>
              <a:rPr lang="nb-NO" sz="800" b="1">
                <a:latin typeface="+mn-lt"/>
                <a:cs typeface="Arial" panose="020B0604020202020204" pitchFamily="34" charset="0"/>
                <a:sym typeface="+mn-lt"/>
              </a:rPr>
              <a:t>SG: Forslag sendt org. behandling</a:t>
            </a:r>
          </a:p>
        </p:txBody>
      </p:sp>
      <p:sp useBgFill="1">
        <p:nvSpPr>
          <p:cNvPr id="360" name="Plassholder for tekst 2">
            <a:extLst>
              <a:ext uri="{FF2B5EF4-FFF2-40B4-BE49-F238E27FC236}">
                <a16:creationId xmlns:a16="http://schemas.microsoft.com/office/drawing/2014/main" id="{2CAE698E-D5EE-430A-9C69-5BD8B81FBFD3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3360738" y="1679575"/>
            <a:ext cx="75247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2C01C4-14F2-4B80-9EE0-C952C87862AB}" type="datetime'''''''''''1''''''5''''''''''''.''''0''''''''''3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03</a:t>
            </a:fld>
            <a:br>
              <a:rPr lang="nb-NO" altLang="en-US" sz="800" b="1"/>
            </a:br>
            <a:r>
              <a:rPr lang="nb-NO" altLang="en-US" sz="800" b="1"/>
              <a:t>Styringsgruppe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800" b="1">
                <a:latin typeface="+mn-lt"/>
                <a:cs typeface="Arial" panose="020B0604020202020204" pitchFamily="34" charset="0"/>
                <a:sym typeface="+mn-lt"/>
              </a:rPr>
              <a:t>SESAM</a:t>
            </a:r>
          </a:p>
        </p:txBody>
      </p:sp>
      <p:sp useBgFill="1">
        <p:nvSpPr>
          <p:cNvPr id="448" name="Plassholder for tekst 2">
            <a:extLst>
              <a:ext uri="{FF2B5EF4-FFF2-40B4-BE49-F238E27FC236}">
                <a16:creationId xmlns:a16="http://schemas.microsoft.com/office/drawing/2014/main" id="{A59A24A9-66A2-4BB9-A340-CB77CEA81DF8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8194675" y="4548188"/>
            <a:ext cx="538163" cy="48895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129B21-40A1-4DB9-97C6-1C829A89FE2D}" type="datetime'''1''''''''''''''''''''''''''''''''3.0''''4'''">
              <a:rPr lang="nb-NO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04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cs typeface="Arial" panose="020B0604020202020204" pitchFamily="34" charset="0"/>
                <a:sym typeface="+mn-lt"/>
              </a:rPr>
              <a:t>Frist for</a:t>
            </a:r>
            <a:br>
              <a:rPr lang="nb-NO" altLang="en-US" sz="800" b="1"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cs typeface="Arial" panose="020B0604020202020204" pitchFamily="34" charset="0"/>
                <a:sym typeface="+mn-lt"/>
              </a:rPr>
              <a:t>Innspill og </a:t>
            </a:r>
            <a:br>
              <a:rPr lang="nb-NO" altLang="en-US" sz="800" b="1"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cs typeface="Arial" panose="020B0604020202020204" pitchFamily="34" charset="0"/>
                <a:sym typeface="+mn-lt"/>
              </a:rPr>
              <a:t>GAP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61" name="Plassholder for tekst 2">
            <a:extLst>
              <a:ext uri="{FF2B5EF4-FFF2-40B4-BE49-F238E27FC236}">
                <a16:creationId xmlns:a16="http://schemas.microsoft.com/office/drawing/2014/main" id="{6812B309-C899-4DFC-A13E-285428A18198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5607050" y="1679575"/>
            <a:ext cx="361950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681C6E-EB76-4853-A58F-D5A84C372DFE}" type="datetime'''''''''''''2''''6''''''.''''''''''''0''''''''''''''''''3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03</a:t>
            </a:fld>
            <a:br>
              <a:rPr lang="nb-NO" altLang="en-US" sz="800" b="1"/>
            </a:br>
            <a:r>
              <a:rPr lang="nb-NO" altLang="en-US" sz="800" b="1"/>
              <a:t>SESAM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16" name="Plassholder for tekst 2">
            <a:extLst>
              <a:ext uri="{FF2B5EF4-FFF2-40B4-BE49-F238E27FC236}">
                <a16:creationId xmlns:a16="http://schemas.microsoft.com/office/drawing/2014/main" id="{6ACBAC41-8724-43B7-99E7-A0C591FBE504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9174163" y="3605213"/>
            <a:ext cx="1192213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/>
              <a:t>Ev. justering GAP-analyse</a:t>
            </a:r>
            <a:endParaRPr lang="nb-NO" sz="800"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358" name="Plassholder for tekst 2">
            <a:extLst>
              <a:ext uri="{FF2B5EF4-FFF2-40B4-BE49-F238E27FC236}">
                <a16:creationId xmlns:a16="http://schemas.microsoft.com/office/drawing/2014/main" id="{B2C0596E-FDEA-4ADB-B45D-B36C6A41C23E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2520950" y="1679575"/>
            <a:ext cx="798513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F6A7A0-B4F7-4972-A687-1D1AB8ACB3F6}" type="datetime'''''''09''''''''''''.''''''''''0''''''''''''''''''''''''3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.03</a:t>
            </a:fld>
            <a:br>
              <a:rPr lang="nb-NO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sz="800" b="1">
                <a:latin typeface="+mn-lt"/>
                <a:cs typeface="Arial" panose="020B0604020202020204" pitchFamily="34" charset="0"/>
                <a:sym typeface="+mn-lt"/>
              </a:rPr>
              <a:t>Innføringsledere</a:t>
            </a:r>
          </a:p>
        </p:txBody>
      </p:sp>
      <p:sp useBgFill="1">
        <p:nvSpPr>
          <p:cNvPr id="419" name="Plassholder for tekst 2">
            <a:extLst>
              <a:ext uri="{FF2B5EF4-FFF2-40B4-BE49-F238E27FC236}">
                <a16:creationId xmlns:a16="http://schemas.microsoft.com/office/drawing/2014/main" id="{619C4BB4-8E3C-49E0-A60A-24E4F3CA0417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8399463" y="2171700"/>
            <a:ext cx="1192213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800"/>
              <a:t>Ev. justering GAP-analyse</a:t>
            </a:r>
            <a:endParaRPr lang="nb-NO" sz="800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434" name="Plassholder for tekst 2">
            <a:extLst>
              <a:ext uri="{FF2B5EF4-FFF2-40B4-BE49-F238E27FC236}">
                <a16:creationId xmlns:a16="http://schemas.microsoft.com/office/drawing/2014/main" id="{1C287229-D358-4804-AEB9-D0A3DDA15163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3860800" y="5605463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CF8B32-EFB0-4222-8CC6-D8CC4F68E8D8}" type="datetime'''''1''''5''''''''''''''''''''''''.''''''''''0''''3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03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SG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 useBgFill="1">
        <p:nvSpPr>
          <p:cNvPr id="185" name="Plassholder for tekst 2">
            <a:extLst>
              <a:ext uri="{FF2B5EF4-FFF2-40B4-BE49-F238E27FC236}">
                <a16:creationId xmlns:a16="http://schemas.microsoft.com/office/drawing/2014/main" id="{20F3B8D9-151C-4B20-BFB8-52DE3535826F}"/>
              </a:ext>
            </a:extLst>
          </p:cNvPr>
          <p:cNvSpPr>
            <a:spLocks noGrp="1"/>
          </p:cNvSpPr>
          <p:nvPr/>
        </p:nvSpPr>
        <p:spPr bwMode="auto">
          <a:xfrm>
            <a:off x="3873499" y="5925272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CF8B32-EFB0-4222-8CC6-D8CC4F68E8D8}" type="datetime'''''1''''5''''''''''''''''''''''''.''''''''''0''''3'''''''''''">
              <a:rPr lang="nb-NO" altLang="en-US" sz="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03</a:t>
            </a:fld>
            <a:b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</a:br>
            <a:r>
              <a:rPr lang="nb-NO" altLang="en-US" sz="800" b="1">
                <a:latin typeface="+mn-lt"/>
                <a:cs typeface="Arial" panose="020B0604020202020204" pitchFamily="34" charset="0"/>
                <a:sym typeface="+mn-lt"/>
              </a:rPr>
              <a:t>SESAM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F72559A-0948-4C3C-9888-4071E8DD9EB4}"/>
              </a:ext>
            </a:extLst>
          </p:cNvPr>
          <p:cNvSpPr txBox="1"/>
          <p:nvPr/>
        </p:nvSpPr>
        <p:spPr>
          <a:xfrm>
            <a:off x="10098043" y="1181188"/>
            <a:ext cx="1875000" cy="1261884"/>
          </a:xfrm>
          <a:prstGeom prst="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b-NO" sz="800" b="1">
                <a:solidFill>
                  <a:schemeClr val="accent2">
                    <a:lumMod val="60000"/>
                    <a:lumOff val="40000"/>
                  </a:schemeClr>
                </a:solidFill>
                <a:cs typeface="Arial" panose="020B0604020202020204" pitchFamily="34" charset="0"/>
                <a:sym typeface="+mn-lt"/>
              </a:rPr>
              <a:t>    Forslag sendt org. behandling: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nb-NO" sz="800" i="1">
                <a:solidFill>
                  <a:schemeClr val="accent2">
                    <a:lumMod val="60000"/>
                    <a:lumOff val="40000"/>
                  </a:schemeClr>
                </a:solidFill>
                <a:cs typeface="Arial" panose="020B0604020202020204" pitchFamily="34" charset="0"/>
                <a:sym typeface="+mn-lt"/>
              </a:rPr>
              <a:t>Innebærer at styringsgruppen leverer forslag til løsning til prosjekteier (forslag til rektorvedtak).  </a:t>
            </a:r>
            <a:br>
              <a:rPr lang="nb-NO" sz="800" i="1">
                <a:solidFill>
                  <a:schemeClr val="accent2">
                    <a:lumMod val="60000"/>
                    <a:lumOff val="40000"/>
                  </a:schemeClr>
                </a:solidFill>
                <a:cs typeface="Arial" panose="020B0604020202020204" pitchFamily="34" charset="0"/>
                <a:sym typeface="+mn-lt"/>
              </a:rPr>
            </a:br>
            <a:r>
              <a:rPr lang="nb-NO" sz="800" i="1">
                <a:solidFill>
                  <a:schemeClr val="accent2">
                    <a:lumMod val="60000"/>
                    <a:lumOff val="40000"/>
                  </a:schemeClr>
                </a:solidFill>
                <a:cs typeface="Arial" panose="020B0604020202020204" pitchFamily="34" charset="0"/>
                <a:sym typeface="+mn-lt"/>
              </a:rPr>
              <a:t>Prosjekteier vurderer videre </a:t>
            </a:r>
            <a:r>
              <a:rPr lang="nb-NO" sz="800" i="1" err="1">
                <a:solidFill>
                  <a:schemeClr val="accent2">
                    <a:lumMod val="60000"/>
                    <a:lumOff val="40000"/>
                  </a:schemeClr>
                </a:solidFill>
                <a:cs typeface="Arial" panose="020B0604020202020204" pitchFamily="34" charset="0"/>
                <a:sym typeface="+mn-lt"/>
              </a:rPr>
              <a:t>org.messig</a:t>
            </a:r>
            <a:r>
              <a:rPr lang="nb-NO" sz="800" i="1">
                <a:solidFill>
                  <a:schemeClr val="accent2">
                    <a:lumMod val="60000"/>
                    <a:lumOff val="40000"/>
                  </a:schemeClr>
                </a:solidFill>
                <a:cs typeface="Arial" panose="020B0604020202020204" pitchFamily="34" charset="0"/>
                <a:sym typeface="+mn-lt"/>
              </a:rPr>
              <a:t> behandling, herunder om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nb-NO" sz="800" i="1">
                <a:solidFill>
                  <a:schemeClr val="accent2">
                    <a:lumMod val="60000"/>
                    <a:lumOff val="40000"/>
                  </a:schemeClr>
                </a:solidFill>
                <a:cs typeface="Arial" panose="020B0604020202020204" pitchFamily="34" charset="0"/>
                <a:sym typeface="+mn-lt"/>
              </a:rPr>
              <a:t>forslaget legges frem for ALF og dekanmøtet, før SESAM behandler saken og det tas Rektorvedtak.  </a:t>
            </a:r>
          </a:p>
          <a:p>
            <a:endParaRPr lang="nb-NO" sz="400"/>
          </a:p>
        </p:txBody>
      </p:sp>
      <p:sp>
        <p:nvSpPr>
          <p:cNvPr id="187" name="Diamond 259">
            <a:extLst>
              <a:ext uri="{FF2B5EF4-FFF2-40B4-BE49-F238E27FC236}">
                <a16:creationId xmlns:a16="http://schemas.microsoft.com/office/drawing/2014/main" id="{57692CD0-4AEE-4F97-8AAF-BDBD1F466D52}"/>
              </a:ext>
            </a:extLst>
          </p:cNvPr>
          <p:cNvSpPr/>
          <p:nvPr>
            <p:custDataLst>
              <p:tags r:id="rId164"/>
            </p:custDataLst>
          </p:nvPr>
        </p:nvSpPr>
        <p:spPr bwMode="gray">
          <a:xfrm>
            <a:off x="10153663" y="1220897"/>
            <a:ext cx="114300" cy="114300"/>
          </a:xfrm>
          <a:prstGeom prst="diamond">
            <a:avLst/>
          </a:prstGeom>
          <a:solidFill>
            <a:srgbClr val="DA291C"/>
          </a:solidFill>
          <a:ln w="9525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179" name="Oval 244">
            <a:extLst>
              <a:ext uri="{FF2B5EF4-FFF2-40B4-BE49-F238E27FC236}">
                <a16:creationId xmlns:a16="http://schemas.microsoft.com/office/drawing/2014/main" id="{AC16E3ED-EEEC-4248-9578-21A668368870}"/>
              </a:ext>
            </a:extLst>
          </p:cNvPr>
          <p:cNvSpPr/>
          <p:nvPr>
            <p:custDataLst>
              <p:tags r:id="rId165"/>
            </p:custDataLst>
          </p:nvPr>
        </p:nvSpPr>
        <p:spPr bwMode="gray">
          <a:xfrm>
            <a:off x="11353800" y="5464230"/>
            <a:ext cx="114300" cy="1143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 useBgFill="1">
        <p:nvSpPr>
          <p:cNvPr id="182" name="Plassholder for tekst 2">
            <a:extLst>
              <a:ext uri="{FF2B5EF4-FFF2-40B4-BE49-F238E27FC236}">
                <a16:creationId xmlns:a16="http://schemas.microsoft.com/office/drawing/2014/main" id="{9AC839A7-5473-4E11-B431-3FA460C00683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11290300" y="5600379"/>
            <a:ext cx="257175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br>
              <a:rPr lang="nb-NO" altLang="en-US" sz="800" b="1"/>
            </a:br>
            <a:r>
              <a:rPr lang="nb-NO" altLang="en-US" sz="800" b="1"/>
              <a:t>21-05</a:t>
            </a:r>
            <a:br>
              <a:rPr lang="nb-NO" altLang="en-US" sz="800" b="1"/>
            </a:br>
            <a:r>
              <a:rPr lang="nb-NO" altLang="en-US" sz="800" b="1"/>
              <a:t>SESAM</a:t>
            </a:r>
            <a:endParaRPr lang="nb-NO" sz="800" b="1">
              <a:latin typeface="+mn-lt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696530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B99D4-741D-4817-9352-2DA278796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med GAP-innspillen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41DE45-841E-4F6D-9C35-4326D9F2E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nb-NO" sz="2400" dirty="0"/>
              <a:t>Alle innspillene er systematisert og samlet i ett felles dokument i tillegg til </a:t>
            </a:r>
            <a:r>
              <a:rPr lang="nb-NO" sz="2400" dirty="0" err="1"/>
              <a:t>ensiders</a:t>
            </a:r>
            <a:r>
              <a:rPr lang="nb-NO" sz="2400" dirty="0"/>
              <a:t> dokument (s.ntnu.no/bott-ol         siste nytt)</a:t>
            </a:r>
            <a:endParaRPr lang="en-US" sz="2400" dirty="0"/>
          </a:p>
          <a:p>
            <a:pPr>
              <a:buFont typeface="Wingdings" panose="05000000000000000000" pitchFamily="2" charset="2"/>
              <a:buChar char="q"/>
            </a:pPr>
            <a:r>
              <a:rPr lang="nb-NO" sz="2400" dirty="0"/>
              <a:t>På grunnlag av innspillene lager prosjektleder et beslutningsgrunnlag med hovedtrekk til Styringsgruppa for innstilling til Rektorvedtak, som oversendes til prosjekteier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nb-NO" sz="2400" dirty="0"/>
              <a:t>Prosjekteier vurderer videre organisasjonsmessig behandling, herunder om forslaget legges frem for ALF og evt. dekanmøtet, før SESAM behandler saken og det tas Rektorvedtak</a:t>
            </a:r>
            <a:r>
              <a:rPr lang="nb-NO" sz="2400" i="1" dirty="0"/>
              <a:t>. 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nb-NO" sz="2400" dirty="0"/>
              <a:t>Innspillene er også viktig for det videre arbeidet på enhetene og prosjektet framover</a:t>
            </a:r>
          </a:p>
          <a:p>
            <a:pPr marL="0" indent="0">
              <a:buNone/>
            </a:pPr>
            <a:endParaRPr lang="nb-NO" sz="2400" i="1" dirty="0"/>
          </a:p>
          <a:p>
            <a:pPr>
              <a:buFont typeface="Wingdings" panose="05000000000000000000" pitchFamily="2" charset="2"/>
              <a:buChar char="q"/>
            </a:pPr>
            <a:endParaRPr lang="nb-NO" sz="2400" i="1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2177DC0-0AC3-4CAF-B6C8-8620B3A71401}"/>
              </a:ext>
            </a:extLst>
          </p:cNvPr>
          <p:cNvCxnSpPr>
            <a:cxnSpLocks/>
          </p:cNvCxnSpPr>
          <p:nvPr/>
        </p:nvCxnSpPr>
        <p:spPr>
          <a:xfrm>
            <a:off x="6014345" y="1956122"/>
            <a:ext cx="45527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20442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D2CB682-6297-4D6E-8A35-257CBFB98B61}"/>
              </a:ext>
            </a:extLst>
          </p:cNvPr>
          <p:cNvSpPr/>
          <p:nvPr/>
        </p:nvSpPr>
        <p:spPr>
          <a:xfrm>
            <a:off x="401847" y="1347019"/>
            <a:ext cx="3510396" cy="481836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endParaRPr lang="nb-NO" sz="1600" u="sng" dirty="0"/>
          </a:p>
          <a:p>
            <a:pPr fontAlgn="base"/>
            <a:r>
              <a:rPr lang="nb-NO" sz="1600" u="sng" dirty="0"/>
              <a:t>Styringsgruppen anbefaler rektor å fatte følgende vedtak:</a:t>
            </a:r>
            <a:endParaRPr lang="nb-NO" sz="1600" u="sng" dirty="0">
              <a:cs typeface="Arial"/>
            </a:endParaRPr>
          </a:p>
          <a:p>
            <a:pPr fontAlgn="base"/>
            <a:br>
              <a:rPr lang="nb-NO" sz="1600" dirty="0"/>
            </a:br>
            <a:r>
              <a:rPr lang="nb-NO" sz="1600" dirty="0"/>
              <a:t>Implementering av BOTT-prosessens roller og rutiner for arbeidsprosessen «Lønn og lønnsnær HR» gjennomføres i tråd med løsningsforslaget, herunder etablering av felles </a:t>
            </a:r>
            <a:r>
              <a:rPr lang="nb-NO" sz="1600" dirty="0" err="1"/>
              <a:t>tjenestesenter</a:t>
            </a:r>
            <a:r>
              <a:rPr lang="nb-NO" sz="1600" dirty="0"/>
              <a:t> for lønn og lønnsnær HR på nivå 1, </a:t>
            </a:r>
            <a:r>
              <a:rPr lang="nb-NO" sz="1600" dirty="0" err="1"/>
              <a:t>jf</a:t>
            </a:r>
            <a:r>
              <a:rPr lang="nb-NO" sz="1600" dirty="0"/>
              <a:t> vedlegg Løsningsforslag lønn og lønnsnær HR.</a:t>
            </a:r>
            <a:br>
              <a:rPr lang="nb-NO" sz="1600" dirty="0"/>
            </a:br>
            <a:br>
              <a:rPr lang="nb-NO" sz="1600" dirty="0"/>
            </a:br>
            <a:r>
              <a:rPr lang="nb-NO" sz="1600" dirty="0"/>
              <a:t>Implementeringsarbeidet må legges opp med sikte på at målsettingene for BOTT ØL innføring og forutsetninger og suksesskriterier for løsningsforslaget ivaretas. </a:t>
            </a:r>
            <a:endParaRPr lang="nb-NO" sz="1600" dirty="0"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11558E-5CF9-445E-9D5C-8BDAA247ACF4}"/>
              </a:ext>
            </a:extLst>
          </p:cNvPr>
          <p:cNvSpPr/>
          <p:nvPr/>
        </p:nvSpPr>
        <p:spPr>
          <a:xfrm>
            <a:off x="4280999" y="1347019"/>
            <a:ext cx="3510396" cy="481836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nb-NO" sz="1600" u="sng" dirty="0"/>
              <a:t>Styringsgruppen anbefaler rektor å fatte følgende vedtak: </a:t>
            </a:r>
            <a:br>
              <a:rPr lang="nb-NO" sz="1600" dirty="0"/>
            </a:br>
            <a:br>
              <a:rPr lang="nb-NO" sz="1600" dirty="0"/>
            </a:br>
            <a:r>
              <a:rPr lang="nb-NO" sz="1600" dirty="0"/>
              <a:t>Implementering av BOTT-prosessenes roller og rutiner for arbeidsprosessen «Prosjektøkonomi» innføres innenfor en organisatorisk ramme med dagens handlingsrom for organisering, jamfør vedlagte løsningsforslag 1. </a:t>
            </a:r>
            <a:br>
              <a:rPr lang="nb-NO" sz="1600" dirty="0"/>
            </a:br>
            <a:br>
              <a:rPr lang="nb-NO" sz="1600" dirty="0"/>
            </a:br>
            <a:r>
              <a:rPr lang="nb-NO" sz="1600" dirty="0"/>
              <a:t>Implementeringsarbeidet må legges opp med sikte på at målsettingene og suksesskriterier for BOTT ØL innføring ivaretas.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C194B42-C2F8-48C9-A8A0-6E316FB812D4}"/>
              </a:ext>
            </a:extLst>
          </p:cNvPr>
          <p:cNvSpPr/>
          <p:nvPr/>
        </p:nvSpPr>
        <p:spPr>
          <a:xfrm>
            <a:off x="8160151" y="1347019"/>
            <a:ext cx="3522932" cy="481836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nb-NO" sz="1600" u="sng" dirty="0"/>
              <a:t>Styringsgruppen anbefaler rektor å fatte følgende vedtak:</a:t>
            </a:r>
            <a:r>
              <a:rPr lang="nb-NO" sz="1600" dirty="0"/>
              <a:t>  </a:t>
            </a:r>
            <a:br>
              <a:rPr lang="nb-NO" sz="1600" dirty="0"/>
            </a:br>
            <a:endParaRPr lang="nb-NO" sz="1600" dirty="0"/>
          </a:p>
          <a:p>
            <a:pPr fontAlgn="base"/>
            <a:r>
              <a:rPr lang="nb-NO" sz="1600" dirty="0"/>
              <a:t>Implementering av BOTT-prosessenes roller og rutiner for arbeidsprosessen «Behov til betaling» innføres innenfor en organisatorisk ramme med dagens handlingsrom for organisering, jamfør vedlagte løsningsforslag 1. </a:t>
            </a:r>
            <a:endParaRPr lang="nb-NO" sz="1600" dirty="0">
              <a:cs typeface="Arial"/>
            </a:endParaRPr>
          </a:p>
          <a:p>
            <a:pPr fontAlgn="base"/>
            <a:br>
              <a:rPr lang="nb-NO" sz="1600" dirty="0"/>
            </a:br>
            <a:r>
              <a:rPr lang="nb-NO" sz="1600" dirty="0"/>
              <a:t>Implementeringsarbeidet må legges opp med sikte på at målsettingene og suksesskriterier for BOTT ØL innføring ivaretas. </a:t>
            </a:r>
            <a:endParaRPr lang="nb-NO" sz="1600" dirty="0"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3BBF36-A085-405C-ABF9-4902B99D1488}"/>
              </a:ext>
            </a:extLst>
          </p:cNvPr>
          <p:cNvSpPr/>
          <p:nvPr/>
        </p:nvSpPr>
        <p:spPr>
          <a:xfrm>
            <a:off x="401847" y="219919"/>
            <a:ext cx="3510396" cy="953043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b="1" dirty="0"/>
              <a:t>Lønn og lønnsnær HR </a:t>
            </a:r>
            <a:endParaRPr lang="en-US"/>
          </a:p>
          <a:p>
            <a:pPr algn="ctr"/>
            <a:r>
              <a:rPr lang="nb-NO" b="1" dirty="0"/>
              <a:t>12.04 - styringsgruppemøte</a:t>
            </a:r>
            <a:endParaRPr lang="nb-NO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6E429DC-D808-42A9-8D24-D7BC95A9B777}"/>
              </a:ext>
            </a:extLst>
          </p:cNvPr>
          <p:cNvSpPr/>
          <p:nvPr/>
        </p:nvSpPr>
        <p:spPr>
          <a:xfrm>
            <a:off x="4280999" y="212264"/>
            <a:ext cx="3510396" cy="96069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b="1" dirty="0"/>
              <a:t>Prosjektøkonomi </a:t>
            </a:r>
            <a:endParaRPr lang="en-US" dirty="0"/>
          </a:p>
          <a:p>
            <a:pPr algn="ctr"/>
            <a:r>
              <a:rPr lang="nb-NO" b="1" dirty="0"/>
              <a:t> 20.04 - styringsgruppemøte</a:t>
            </a:r>
            <a:endParaRPr lang="nb-NO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95E9C-0266-4C5A-BD18-2515CEC48835}"/>
              </a:ext>
            </a:extLst>
          </p:cNvPr>
          <p:cNvSpPr/>
          <p:nvPr/>
        </p:nvSpPr>
        <p:spPr>
          <a:xfrm>
            <a:off x="8160151" y="212263"/>
            <a:ext cx="3510396" cy="96069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b="1" dirty="0"/>
              <a:t>Behov til betaling </a:t>
            </a:r>
            <a:endParaRPr lang="en-US" dirty="0"/>
          </a:p>
          <a:p>
            <a:pPr algn="ctr"/>
            <a:r>
              <a:rPr lang="nb-NO" b="1" dirty="0"/>
              <a:t>27.04 - styringsgruppemøt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60399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713E9-05F1-4091-B280-BD7003E61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509286"/>
            <a:ext cx="11224996" cy="729205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r>
              <a:rPr lang="nb-NO" sz="3200" dirty="0"/>
              <a:t>Implementeringsplan – 27.04 - styringsgruppemø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D24BB0-BD46-49D8-8927-DA6663AD06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828800"/>
            <a:ext cx="11224996" cy="3611301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marL="0" lvl="0" indent="0" defTabSz="914400" fontAlgn="base">
              <a:spcBef>
                <a:spcPts val="0"/>
              </a:spcBef>
              <a:buNone/>
              <a:defRPr/>
            </a:pPr>
            <a:r>
              <a:rPr lang="nb-NO" u="sng" dirty="0">
                <a:solidFill>
                  <a:prstClr val="black"/>
                </a:solidFill>
                <a:latin typeface="Calibri" panose="020F0502020204030204"/>
              </a:rPr>
              <a:t>Styringsgruppen anbefaler rektor å fatte følgende vedtak:</a:t>
            </a:r>
            <a:r>
              <a:rPr lang="nb-NO" dirty="0">
                <a:solidFill>
                  <a:prstClr val="black"/>
                </a:solidFill>
                <a:latin typeface="Calibri" panose="020F0502020204030204"/>
              </a:rPr>
              <a:t>  </a:t>
            </a:r>
            <a:br>
              <a:rPr lang="nb-NO" dirty="0">
                <a:solidFill>
                  <a:prstClr val="black"/>
                </a:solidFill>
                <a:latin typeface="Calibri" panose="020F0502020204030204"/>
              </a:rPr>
            </a:br>
            <a:endParaRPr lang="nb-NO" dirty="0">
              <a:solidFill>
                <a:prstClr val="black"/>
              </a:solidFill>
              <a:latin typeface="Calibri" panose="020F0502020204030204"/>
            </a:endParaRPr>
          </a:p>
          <a:p>
            <a:pPr marL="0" lvl="0" indent="0" fontAlgn="base">
              <a:buNone/>
            </a:pPr>
            <a:r>
              <a:rPr lang="nb-NO" sz="2000" dirty="0">
                <a:solidFill>
                  <a:prstClr val="black"/>
                </a:solidFill>
              </a:rPr>
              <a:t>De anbefalte organisatoriske løsninger og endringer for de tre prosessene Lønn og lønnsnær HR, Prosjektøkonomi og Behov til betaling forberedes videre i 2021 slik at de disse implementeres sammen med systeminnføringen 01.01.2022. </a:t>
            </a:r>
          </a:p>
          <a:p>
            <a:pPr marL="0" lvl="0" indent="0" fontAlgn="base">
              <a:buNone/>
            </a:pPr>
            <a:r>
              <a:rPr lang="nb-NO" sz="2000" dirty="0">
                <a:solidFill>
                  <a:prstClr val="black"/>
                </a:solidFill>
              </a:rPr>
              <a:t>Implementeringsarbeidet må legges opp med sikte på at målsettingene, suksesskriterier og suksessfaktorene for BOTT ØL innføring ivaretas. </a:t>
            </a:r>
          </a:p>
          <a:p>
            <a:pPr marL="0" lvl="0" indent="0" fontAlgn="base">
              <a:buNone/>
            </a:pPr>
            <a:r>
              <a:rPr lang="nb-NO" sz="2000" dirty="0">
                <a:solidFill>
                  <a:prstClr val="black"/>
                </a:solidFill>
              </a:rPr>
              <a:t>Som start på implementeringsarbeidet skal det gjennomføres risikoanalyse og opprettes en risikoreduserende tiltaksplan</a:t>
            </a:r>
            <a:endParaRPr lang="nb-NO" sz="2000" dirty="0">
              <a:solidFill>
                <a:prstClr val="black"/>
              </a:solidFill>
              <a:latin typeface="Calibri" panose="020F0502020204030204"/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55984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3E181C1-E770-47EE-892B-EA662563E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243418"/>
          </a:xfrm>
        </p:spPr>
        <p:txBody>
          <a:bodyPr/>
          <a:lstStyle/>
          <a:p>
            <a:r>
              <a:rPr lang="nb-NO" sz="3733"/>
              <a:t>Beslutninger om organisatoriske rammer for innføring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EF1523B-04A4-4F3A-B06C-BFA0B6CC73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6" y="1672836"/>
            <a:ext cx="11224996" cy="4818365"/>
          </a:xfrm>
        </p:spPr>
        <p:txBody>
          <a:bodyPr/>
          <a:lstStyle/>
          <a:p>
            <a:r>
              <a:rPr lang="nb-NO" dirty="0"/>
              <a:t>Styringsgruppa sender anbefalingene til prosjekteier for organisasjonsmessig behandling</a:t>
            </a:r>
          </a:p>
          <a:p>
            <a:r>
              <a:rPr lang="nb-NO" dirty="0"/>
              <a:t>Prosjekteier vil rådslå med Administrativt lederforum før saken tas videre (12. mai)</a:t>
            </a:r>
          </a:p>
          <a:p>
            <a:r>
              <a:rPr lang="nb-NO" dirty="0"/>
              <a:t>Eventuelt behandles i Dekanmøte (18. mai)</a:t>
            </a:r>
          </a:p>
          <a:p>
            <a:r>
              <a:rPr lang="nb-NO" dirty="0"/>
              <a:t>Behandling i SESAM (21. mai)</a:t>
            </a:r>
          </a:p>
          <a:p>
            <a:r>
              <a:rPr lang="nb-NO" dirty="0"/>
              <a:t>Rektor fatter vedtak om organisatoriske rammer for innføring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39691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0CF675-D773-476A-BB34-188BF21FF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ien vider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40569A6-4A1C-400E-920C-48BC5042D5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120000" tIns="62400" rIns="120000" bIns="62400" rtlCol="0" anchor="t">
            <a:noAutofit/>
          </a:bodyPr>
          <a:lstStyle/>
          <a:p>
            <a:pPr marL="456565" indent="-456565"/>
            <a:r>
              <a:rPr lang="nb-NO" dirty="0"/>
              <a:t>Rammer for endringsarbeid presentert for fakultetene</a:t>
            </a:r>
            <a:endParaRPr lang="en-US" dirty="0"/>
          </a:p>
          <a:p>
            <a:pPr marL="456565" indent="-456565"/>
            <a:r>
              <a:rPr lang="nb-NO" dirty="0"/>
              <a:t>Det enkelte fakultet/VM og Fellesadministrasjonen etablerer rolle- og stillingsstruktur før sommer</a:t>
            </a:r>
          </a:p>
          <a:p>
            <a:pPr marL="456565" indent="-456565"/>
            <a:r>
              <a:rPr lang="nb-NO" dirty="0"/>
              <a:t>Enhetene bemanner roller og stillinger – august-september</a:t>
            </a:r>
          </a:p>
          <a:p>
            <a:pPr marL="456565" indent="-456565"/>
            <a:r>
              <a:rPr lang="nb-NO" dirty="0"/>
              <a:t>Opplæring og forberedelse til oppstart nye systemer fra september/oktober</a:t>
            </a:r>
          </a:p>
          <a:p>
            <a:pPr marL="456565" indent="-456565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61715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3805692"/>
              </p:ext>
            </p:extLst>
          </p:nvPr>
        </p:nvGraphicFramePr>
        <p:xfrm>
          <a:off x="401848" y="1211668"/>
          <a:ext cx="6491434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491434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 b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43289088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BE40C0F-3853-4B6E-AD5B-09671A8A2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0761040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201F2-6DBC-46C9-8227-B696EABB1E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201F2-6DBC-46C9-8227-B696EABB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0600D8-441C-42CE-A0E2-72061493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283" y="452589"/>
            <a:ext cx="9846115" cy="427943"/>
          </a:xfrm>
        </p:spPr>
        <p:txBody>
          <a:bodyPr vert="horz"/>
          <a:lstStyle/>
          <a:p>
            <a:r>
              <a:rPr lang="nb-NO"/>
              <a:t>Lønn og Lønnsnær HR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32820A-CDCC-451E-A77C-DA918F02A686}"/>
              </a:ext>
            </a:extLst>
          </p:cNvPr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5F4EF24-C527-472B-B91E-D3EDFACC86CB}"/>
              </a:ext>
            </a:extLst>
          </p:cNvPr>
          <p:cNvGrpSpPr/>
          <p:nvPr/>
        </p:nvGrpSpPr>
        <p:grpSpPr>
          <a:xfrm>
            <a:off x="985283" y="1340711"/>
            <a:ext cx="9453226" cy="4528523"/>
            <a:chOff x="1753435" y="1379216"/>
            <a:chExt cx="9453226" cy="452852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BA6C309-81FB-4FB5-8D58-7B16FADFF39C}"/>
                </a:ext>
              </a:extLst>
            </p:cNvPr>
            <p:cNvSpPr/>
            <p:nvPr/>
          </p:nvSpPr>
          <p:spPr>
            <a:xfrm>
              <a:off x="1753435" y="1569054"/>
              <a:ext cx="9453226" cy="433868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sz="1100">
                <a:solidFill>
                  <a:schemeClr val="tx1"/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89E58E9-F9F5-4709-B726-D8E56946EF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475" b="4298"/>
            <a:stretch/>
          </p:blipFill>
          <p:spPr>
            <a:xfrm>
              <a:off x="2316398" y="1627890"/>
              <a:ext cx="8327300" cy="421512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62228B1-1674-445D-A611-E2310EF7042D}"/>
                </a:ext>
              </a:extLst>
            </p:cNvPr>
            <p:cNvSpPr/>
            <p:nvPr/>
          </p:nvSpPr>
          <p:spPr>
            <a:xfrm>
              <a:off x="2017157" y="1379216"/>
              <a:ext cx="635874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nb-NO"/>
                <a:t>Det etableres et tjenestesenter for Lønn og Lønnsnær HR på nivå 1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48C47F2-64D3-476B-A37C-AA570872C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46720" y="1627890"/>
              <a:ext cx="2389368" cy="1792025"/>
            </a:xfrm>
            <a:prstGeom prst="rect">
              <a:avLst/>
            </a:prstGeom>
          </p:spPr>
        </p:pic>
      </p:grp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97C3EE68-18A6-4EAE-B6BA-6F92FBC9CF78}"/>
              </a:ext>
            </a:extLst>
          </p:cNvPr>
          <p:cNvSpPr/>
          <p:nvPr/>
        </p:nvSpPr>
        <p:spPr bwMode="auto">
          <a:xfrm rot="12626678">
            <a:off x="4420289" y="4030871"/>
            <a:ext cx="889462" cy="364112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21446" tIns="60723" rIns="121446" bIns="6072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319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76E5336D-0DF7-413B-8259-52D925121F64}"/>
              </a:ext>
            </a:extLst>
          </p:cNvPr>
          <p:cNvSpPr/>
          <p:nvPr/>
        </p:nvSpPr>
        <p:spPr bwMode="auto">
          <a:xfrm rot="10144457">
            <a:off x="4382409" y="4661004"/>
            <a:ext cx="889462" cy="364112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21446" tIns="60723" rIns="121446" bIns="6072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319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4E88CB7-56FF-4200-8DA9-779B1F828507}"/>
              </a:ext>
            </a:extLst>
          </p:cNvPr>
          <p:cNvSpPr/>
          <p:nvPr/>
        </p:nvSpPr>
        <p:spPr bwMode="auto">
          <a:xfrm>
            <a:off x="5010778" y="4155159"/>
            <a:ext cx="2668386" cy="796645"/>
          </a:xfrm>
          <a:prstGeom prst="roundRect">
            <a:avLst>
              <a:gd name="adj" fmla="val 9599"/>
            </a:avLst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txBody>
          <a:bodyPr vert="horz" wrap="square" lIns="121446" tIns="60723" rIns="121446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/>
              <a:t>Kostnadsgodkjenner, Personalgodkjenner og Behovshaver Kontrakt utføres på fakultets- og instituttnivå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77A47B1-CA9E-414A-9F87-90C0B35DF4FA}"/>
              </a:ext>
            </a:extLst>
          </p:cNvPr>
          <p:cNvSpPr/>
          <p:nvPr/>
        </p:nvSpPr>
        <p:spPr bwMode="auto">
          <a:xfrm>
            <a:off x="7481135" y="6123520"/>
            <a:ext cx="3138605" cy="265176"/>
          </a:xfrm>
          <a:prstGeom prst="roundRect">
            <a:avLst/>
          </a:prstGeom>
          <a:noFill/>
          <a:ln>
            <a:noFill/>
          </a:ln>
        </p:spPr>
        <p:txBody>
          <a:bodyPr vert="horz" wrap="square" lIns="121446" tIns="60723" rIns="121446" bIns="60723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200" i="1"/>
              <a:t>Lønn og Lønnsnær HR – Løsningsforslag 1 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511F700-C9C4-47A7-B495-1C583FDF1315}"/>
              </a:ext>
            </a:extLst>
          </p:cNvPr>
          <p:cNvSpPr/>
          <p:nvPr/>
        </p:nvSpPr>
        <p:spPr bwMode="auto">
          <a:xfrm>
            <a:off x="10425407" y="91799"/>
            <a:ext cx="1670139" cy="78873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100"/>
              <a:t>Hentet fra Løsningsforslag </a:t>
            </a:r>
            <a:br>
              <a:rPr lang="nb-NO" sz="1100"/>
            </a:br>
            <a:r>
              <a:rPr lang="nb-NO" sz="1100"/>
              <a:t>(Design Sprint)</a:t>
            </a:r>
          </a:p>
        </p:txBody>
      </p:sp>
    </p:spTree>
    <p:extLst>
      <p:ext uri="{BB962C8B-B14F-4D97-AF65-F5344CB8AC3E}">
        <p14:creationId xmlns:p14="http://schemas.microsoft.com/office/powerpoint/2010/main" val="7151587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201F2-6DBC-46C9-8227-B696EABB1E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201F2-6DBC-46C9-8227-B696EABB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0600D8-441C-42CE-A0E2-72061493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283" y="452589"/>
            <a:ext cx="9846115" cy="427943"/>
          </a:xfrm>
        </p:spPr>
        <p:txBody>
          <a:bodyPr vert="horz"/>
          <a:lstStyle/>
          <a:p>
            <a:r>
              <a:rPr lang="nb-NO"/>
              <a:t>Behov til Betal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A26B124-8A2B-4F40-A54C-E96141ECEEB5}"/>
              </a:ext>
            </a:extLst>
          </p:cNvPr>
          <p:cNvGrpSpPr/>
          <p:nvPr/>
        </p:nvGrpSpPr>
        <p:grpSpPr>
          <a:xfrm>
            <a:off x="1414570" y="1379216"/>
            <a:ext cx="9686245" cy="4528522"/>
            <a:chOff x="1030522" y="1019522"/>
            <a:chExt cx="9686245" cy="452852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179E054-5232-41A7-8168-AAC050835337}"/>
                </a:ext>
              </a:extLst>
            </p:cNvPr>
            <p:cNvGrpSpPr/>
            <p:nvPr/>
          </p:nvGrpSpPr>
          <p:grpSpPr>
            <a:xfrm>
              <a:off x="1030522" y="1170854"/>
              <a:ext cx="9686245" cy="4377190"/>
              <a:chOff x="934882" y="1700456"/>
              <a:chExt cx="4518705" cy="2041991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BA6C309-81FB-4FB5-8D58-7B16FADFF39C}"/>
                  </a:ext>
                </a:extLst>
              </p:cNvPr>
              <p:cNvSpPr/>
              <p:nvPr/>
            </p:nvSpPr>
            <p:spPr>
              <a:xfrm>
                <a:off x="934882" y="1700456"/>
                <a:ext cx="4410000" cy="2024028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nb-NO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BAE02613-61CA-42C2-873F-284A7FDC1F75}"/>
                  </a:ext>
                </a:extLst>
              </p:cNvPr>
              <p:cNvSpPr/>
              <p:nvPr/>
            </p:nvSpPr>
            <p:spPr>
              <a:xfrm>
                <a:off x="1603267" y="1780728"/>
                <a:ext cx="3850320" cy="1961719"/>
              </a:xfrm>
              <a:prstGeom prst="rect">
                <a:avLst/>
              </a:prstGeom>
              <a:noFill/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b-NO" sz="1400" b="1">
                  <a:solidFill>
                    <a:schemeClr val="tx1"/>
                  </a:solidFill>
                </a:endParaRPr>
              </a:p>
              <a:p>
                <a:r>
                  <a:rPr lang="nb-NO" sz="1400" b="1">
                    <a:solidFill>
                      <a:schemeClr val="tx1"/>
                    </a:solidFill>
                  </a:rPr>
                  <a:t>Innkjøpere: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nb-NO" sz="1400">
                    <a:solidFill>
                      <a:schemeClr val="tx1"/>
                    </a:solidFill>
                  </a:rPr>
                  <a:t>Minimum 50% av stillingen dedikeres til innkjøpsfaglige arbeidsoppgaver (ref. rollebeskrivelse fra BOTT)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nb-NO" sz="1400">
                    <a:solidFill>
                      <a:schemeClr val="tx1"/>
                    </a:solidFill>
                  </a:rPr>
                  <a:t>Det opprettes innkjøpergrupper på nivå 1 og 2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nb-NO" sz="1400">
                  <a:solidFill>
                    <a:schemeClr val="tx1"/>
                  </a:solidFill>
                </a:endParaRPr>
              </a:p>
              <a:p>
                <a:endParaRPr lang="nb-NO" sz="1400">
                  <a:solidFill>
                    <a:schemeClr val="tx1"/>
                  </a:solidFill>
                </a:endParaRPr>
              </a:p>
              <a:p>
                <a:r>
                  <a:rPr lang="nb-NO" sz="1400" b="1">
                    <a:solidFill>
                      <a:schemeClr val="tx1"/>
                    </a:solidFill>
                  </a:rPr>
                  <a:t>Anskaffelsesrådgiver nivå 2/3: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nb-NO" sz="1400">
                    <a:solidFill>
                      <a:schemeClr val="tx1"/>
                    </a:solidFill>
                  </a:rPr>
                  <a:t>Rollen kan innehas av innkjøper i 100% innkjøpsfaglig stilling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nb-NO" sz="1400">
                    <a:solidFill>
                      <a:schemeClr val="tx1"/>
                    </a:solidFill>
                  </a:rPr>
                  <a:t>Vedkommende bør utføre minimum 10 anskaffelser under nasjonal terskelverdi per år (1,3 millioner kroner)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nb-NO" sz="1400">
                    <a:solidFill>
                      <a:schemeClr val="tx1"/>
                    </a:solidFill>
                  </a:rPr>
                  <a:t>Må inneha nødvendige sertifiseringer for å dekke kompetansekravene beskrevet i rollebeskrivelsen fra BOTT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nb-NO" sz="1400">
                    <a:solidFill>
                      <a:schemeClr val="tx1"/>
                    </a:solidFill>
                  </a:rPr>
                  <a:t>Prosessansvarlig for anskaffelsesområdet avgjør hvorvidt kriteriene er oppfylt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nb-NO" sz="140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nb-NO" sz="1400">
                  <a:solidFill>
                    <a:schemeClr val="tx1"/>
                  </a:solidFill>
                </a:endParaRPr>
              </a:p>
              <a:p>
                <a:r>
                  <a:rPr lang="nb-NO" sz="1400" b="1">
                    <a:solidFill>
                      <a:schemeClr val="tx1"/>
                    </a:solidFill>
                  </a:rPr>
                  <a:t>Øvrige rammer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nb-NO" sz="1400">
                    <a:solidFill>
                      <a:schemeClr val="tx1"/>
                    </a:solidFill>
                  </a:rPr>
                  <a:t>Innkjøpere og anskaffelsesrådgivere inngår i faglig nettverk/forum for å ivareta kompetansekrav, fagmiljø og utveksling av kunnskap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E622C590-FB26-4870-8D0F-31A05E4C9F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98477" y="1898847"/>
                <a:ext cx="344104" cy="392493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AFDD93D1-5C23-4DB1-9100-688E1E51DC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19984" y="2576146"/>
                <a:ext cx="301090" cy="360234"/>
              </a:xfrm>
              <a:prstGeom prst="rect">
                <a:avLst/>
              </a:prstGeom>
            </p:spPr>
          </p:pic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34D7FBC-7C06-435E-8D73-A0AFE701C29E}"/>
                </a:ext>
              </a:extLst>
            </p:cNvPr>
            <p:cNvSpPr/>
            <p:nvPr/>
          </p:nvSpPr>
          <p:spPr>
            <a:xfrm>
              <a:off x="1633109" y="1019522"/>
              <a:ext cx="842140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nb-NO"/>
                <a:t>Fakultet/Institutt velger organisering selv, gitt visse føringer:</a:t>
              </a:r>
            </a:p>
          </p:txBody>
        </p:sp>
      </p:grp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229B5DBB-C8E1-4F0C-845C-FE664CE31D45}"/>
              </a:ext>
            </a:extLst>
          </p:cNvPr>
          <p:cNvSpPr/>
          <p:nvPr/>
        </p:nvSpPr>
        <p:spPr bwMode="auto">
          <a:xfrm rot="11711734">
            <a:off x="8101581" y="2565456"/>
            <a:ext cx="889462" cy="364112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21446" tIns="60723" rIns="121446" bIns="6072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319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C48AE12A-DF32-489F-86C0-41557E233CDA}"/>
              </a:ext>
            </a:extLst>
          </p:cNvPr>
          <p:cNvSpPr/>
          <p:nvPr/>
        </p:nvSpPr>
        <p:spPr bwMode="auto">
          <a:xfrm rot="10106509">
            <a:off x="8057650" y="2917876"/>
            <a:ext cx="885136" cy="364112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21446" tIns="60723" rIns="121446" bIns="6072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319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6E63146-190D-4859-8729-A2756658EC9B}"/>
              </a:ext>
            </a:extLst>
          </p:cNvPr>
          <p:cNvSpPr/>
          <p:nvPr/>
        </p:nvSpPr>
        <p:spPr bwMode="auto">
          <a:xfrm>
            <a:off x="8878825" y="2561805"/>
            <a:ext cx="3055212" cy="796645"/>
          </a:xfrm>
          <a:prstGeom prst="roundRect">
            <a:avLst>
              <a:gd name="adj" fmla="val 9599"/>
            </a:avLst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txBody>
          <a:bodyPr vert="horz" wrap="square" lIns="121446" tIns="60723" rIns="121446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/>
              <a:t>Merk at Innkjøper-rollen utføres i minimum 50% stilling. Anskaffelsesrådgiver skal være en Innkjøper i 100% stilling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2CB1F3D-F17F-4CD3-A6D5-174CF4557D31}"/>
              </a:ext>
            </a:extLst>
          </p:cNvPr>
          <p:cNvSpPr/>
          <p:nvPr/>
        </p:nvSpPr>
        <p:spPr bwMode="auto">
          <a:xfrm>
            <a:off x="8795432" y="6007733"/>
            <a:ext cx="3138605" cy="265176"/>
          </a:xfrm>
          <a:prstGeom prst="roundRect">
            <a:avLst/>
          </a:prstGeom>
          <a:noFill/>
          <a:ln>
            <a:noFill/>
          </a:ln>
        </p:spPr>
        <p:txBody>
          <a:bodyPr vert="horz" wrap="square" lIns="121446" tIns="60723" rIns="121446" bIns="60723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200" i="1"/>
              <a:t>Behov til Betaling – Løsningsforslag 1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A5621E4-E8B1-4184-9131-C1C9910798E2}"/>
              </a:ext>
            </a:extLst>
          </p:cNvPr>
          <p:cNvSpPr/>
          <p:nvPr/>
        </p:nvSpPr>
        <p:spPr bwMode="auto">
          <a:xfrm>
            <a:off x="10425407" y="91799"/>
            <a:ext cx="1670139" cy="6956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100"/>
              <a:t>Hentet fra Løsningsforslag </a:t>
            </a:r>
            <a:br>
              <a:rPr lang="nb-NO" sz="1100"/>
            </a:br>
            <a:r>
              <a:rPr lang="nb-NO" sz="1100"/>
              <a:t>(Design Sprint)</a:t>
            </a:r>
          </a:p>
        </p:txBody>
      </p:sp>
    </p:spTree>
    <p:extLst>
      <p:ext uri="{BB962C8B-B14F-4D97-AF65-F5344CB8AC3E}">
        <p14:creationId xmlns:p14="http://schemas.microsoft.com/office/powerpoint/2010/main" val="612351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lkommen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3236995"/>
            <a:chOff x="317191" y="1620719"/>
            <a:chExt cx="3580704" cy="3236995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14773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 dirty="0"/>
                <a:t>Vi skal dele mye informasjon med dere i dag. Presentasjon blir lagt ut i etterkant, sammen med opptak av møtet og spørsmål/svar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3513993"/>
            <a:chOff x="8406858" y="1620719"/>
            <a:chExt cx="3580704" cy="3513993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1754326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 dirty="0"/>
                <a:t>Vi vil gjøre opptak for å tilgjengeliggjøre møtet for alle i etterkant. Om du ikke vil være med på opptaket, må du skru av kameraet. Det vil bli mulighet for å stille spørsmål anonymt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682995"/>
            <a:chOff x="4362024" y="1620719"/>
            <a:chExt cx="3580704" cy="2682996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Sett gjerne inn fullt navn i Zoom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201F2-6DBC-46C9-8227-B696EABB1E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201F2-6DBC-46C9-8227-B696EABB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0600D8-441C-42CE-A0E2-72061493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283" y="452589"/>
            <a:ext cx="9846115" cy="427943"/>
          </a:xfrm>
        </p:spPr>
        <p:txBody>
          <a:bodyPr vert="horz"/>
          <a:lstStyle/>
          <a:p>
            <a:r>
              <a:rPr lang="nb-NO"/>
              <a:t>Prosjektidé til Prosjektavslutn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A26B124-8A2B-4F40-A54C-E96141ECEEB5}"/>
              </a:ext>
            </a:extLst>
          </p:cNvPr>
          <p:cNvGrpSpPr/>
          <p:nvPr/>
        </p:nvGrpSpPr>
        <p:grpSpPr>
          <a:xfrm>
            <a:off x="1753435" y="1379216"/>
            <a:ext cx="9453226" cy="4528523"/>
            <a:chOff x="1369387" y="1019522"/>
            <a:chExt cx="9453226" cy="452852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BA6C309-81FB-4FB5-8D58-7B16FADFF39C}"/>
                </a:ext>
              </a:extLst>
            </p:cNvPr>
            <p:cNvSpPr/>
            <p:nvPr/>
          </p:nvSpPr>
          <p:spPr>
            <a:xfrm>
              <a:off x="1369387" y="1209360"/>
              <a:ext cx="9453226" cy="433868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sz="110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34D7FBC-7C06-435E-8D73-A0AFE701C29E}"/>
                </a:ext>
              </a:extLst>
            </p:cNvPr>
            <p:cNvSpPr/>
            <p:nvPr/>
          </p:nvSpPr>
          <p:spPr>
            <a:xfrm>
              <a:off x="1633109" y="1019522"/>
              <a:ext cx="676108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nb-NO"/>
                <a:t>Fakultet/Institutt velger organisering av Prosjektøkonomer selv, gitt at: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7E577032-1903-43AE-A376-9164583238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75456" y="1911354"/>
            <a:ext cx="8029468" cy="3885942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AC2AC592-12A9-4F7D-B73C-BC6075AD7740}"/>
              </a:ext>
            </a:extLst>
          </p:cNvPr>
          <p:cNvSpPr/>
          <p:nvPr/>
        </p:nvSpPr>
        <p:spPr bwMode="auto">
          <a:xfrm rot="12626678">
            <a:off x="7558395" y="4199811"/>
            <a:ext cx="889462" cy="364112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21446" tIns="60723" rIns="121446" bIns="6072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319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7481D292-E72F-473E-844B-827C012F2082}"/>
              </a:ext>
            </a:extLst>
          </p:cNvPr>
          <p:cNvSpPr/>
          <p:nvPr/>
        </p:nvSpPr>
        <p:spPr bwMode="auto">
          <a:xfrm rot="11008389">
            <a:off x="4829767" y="4808472"/>
            <a:ext cx="3852591" cy="364112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21446" tIns="60723" rIns="121446" bIns="6072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319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D57FD3D-6452-449E-87DC-89B847E0C11C}"/>
              </a:ext>
            </a:extLst>
          </p:cNvPr>
          <p:cNvSpPr/>
          <p:nvPr/>
        </p:nvSpPr>
        <p:spPr bwMode="auto">
          <a:xfrm>
            <a:off x="7901475" y="4488793"/>
            <a:ext cx="2668386" cy="724223"/>
          </a:xfrm>
          <a:prstGeom prst="roundRect">
            <a:avLst>
              <a:gd name="adj" fmla="val 9599"/>
            </a:avLst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txBody>
          <a:bodyPr vert="horz" wrap="square" lIns="121446" tIns="60723" rIns="121446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/>
              <a:t>Prosjektøkonom utføres på fakultets- og instituttnivå i minimum 50% stilling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E31DAD9-F12B-46B0-9538-8E47A8E30BF2}"/>
              </a:ext>
            </a:extLst>
          </p:cNvPr>
          <p:cNvSpPr/>
          <p:nvPr/>
        </p:nvSpPr>
        <p:spPr bwMode="auto">
          <a:xfrm>
            <a:off x="7671635" y="6067291"/>
            <a:ext cx="3851837" cy="265176"/>
          </a:xfrm>
          <a:prstGeom prst="roundRect">
            <a:avLst/>
          </a:prstGeom>
          <a:noFill/>
          <a:ln>
            <a:noFill/>
          </a:ln>
        </p:spPr>
        <p:txBody>
          <a:bodyPr vert="horz" wrap="square" lIns="121446" tIns="60723" rIns="121446" bIns="60723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200" i="1"/>
              <a:t>Prosjektidé til Prosjektavslutning – Løsningsforslag 1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8DED2E9-9E51-4277-B07B-BE1C607349AC}"/>
              </a:ext>
            </a:extLst>
          </p:cNvPr>
          <p:cNvSpPr/>
          <p:nvPr/>
        </p:nvSpPr>
        <p:spPr bwMode="auto">
          <a:xfrm>
            <a:off x="10425407" y="91799"/>
            <a:ext cx="1670139" cy="6321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100"/>
              <a:t>Hentet fra Løsningsforslag </a:t>
            </a:r>
            <a:br>
              <a:rPr lang="nb-NO" sz="1100"/>
            </a:br>
            <a:r>
              <a:rPr lang="nb-NO" sz="1100"/>
              <a:t>(Design Sprint)</a:t>
            </a:r>
          </a:p>
        </p:txBody>
      </p:sp>
    </p:spTree>
    <p:extLst>
      <p:ext uri="{BB962C8B-B14F-4D97-AF65-F5344CB8AC3E}">
        <p14:creationId xmlns:p14="http://schemas.microsoft.com/office/powerpoint/2010/main" val="29859753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201F2-6DBC-46C9-8227-B696EABB1E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201F2-6DBC-46C9-8227-B696EABB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0600D8-441C-42CE-A0E2-72061493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283" y="452589"/>
            <a:ext cx="9846115" cy="427943"/>
          </a:xfrm>
        </p:spPr>
        <p:txBody>
          <a:bodyPr vert="horz"/>
          <a:lstStyle/>
          <a:p>
            <a:r>
              <a:rPr lang="nb-NO"/>
              <a:t>Rolle- og arbeidsorganisering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F485CB-925E-48D8-82BC-F9F6FE1368C2}"/>
              </a:ext>
            </a:extLst>
          </p:cNvPr>
          <p:cNvSpPr txBox="1">
            <a:spLocks/>
          </p:cNvSpPr>
          <p:nvPr/>
        </p:nvSpPr>
        <p:spPr>
          <a:xfrm>
            <a:off x="985283" y="1524000"/>
            <a:ext cx="9374869" cy="43733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b-NO" sz="1200" b="1" u="sng"/>
              <a:t>Bakgrunn:</a:t>
            </a:r>
          </a:p>
          <a:p>
            <a:r>
              <a:rPr lang="nb-NO" sz="1200"/>
              <a:t>Innføringsprosjektet for BOTT ØL ved NTNU jobber med implementering av nye systemer, rutiner og roller som en del av det nasjonale BOTT-prosjektet</a:t>
            </a:r>
          </a:p>
          <a:p>
            <a:r>
              <a:rPr lang="nb-NO" sz="1200"/>
              <a:t>I denne fasen av prosjektet skal det gjennomføres en kartlegging av roller og arbeidsorganisering</a:t>
            </a:r>
          </a:p>
          <a:p>
            <a:pPr marL="0" indent="0">
              <a:buFont typeface="Arial"/>
              <a:buNone/>
            </a:pPr>
            <a:endParaRPr lang="nb-NO" sz="1200" b="1" u="sng"/>
          </a:p>
          <a:p>
            <a:pPr marL="0" indent="0">
              <a:buFont typeface="Arial"/>
              <a:buNone/>
            </a:pPr>
            <a:r>
              <a:rPr lang="nb-NO" sz="1200" b="1" u="sng"/>
              <a:t>Hensikt:</a:t>
            </a:r>
          </a:p>
          <a:p>
            <a:r>
              <a:rPr lang="nb-NO" sz="1200"/>
              <a:t>Hensikten med denne kartleggingen er å få en oversikt over hvor mange som skal ha de ulike BOTT ØL-rollene og hvor disse rollene skal være organisert</a:t>
            </a:r>
          </a:p>
          <a:p>
            <a:r>
              <a:rPr lang="nb-NO" sz="1200"/>
              <a:t>Dette for å etablere:</a:t>
            </a:r>
          </a:p>
          <a:p>
            <a:pPr lvl="1"/>
            <a:r>
              <a:rPr lang="nb-NO" sz="1200"/>
              <a:t>En oversikt over hvor mange som skal ha opplæring i de ulike rollene</a:t>
            </a:r>
          </a:p>
          <a:p>
            <a:pPr lvl="1"/>
            <a:r>
              <a:rPr lang="nb-NO" sz="1200"/>
              <a:t>Grunnlag for videre organisasjonsprosess</a:t>
            </a:r>
          </a:p>
          <a:p>
            <a:pPr marL="0" indent="0">
              <a:buFont typeface="Arial"/>
              <a:buNone/>
            </a:pPr>
            <a:endParaRPr lang="nb-NO" sz="1200" b="1" u="sng"/>
          </a:p>
        </p:txBody>
      </p:sp>
    </p:spTree>
    <p:extLst>
      <p:ext uri="{BB962C8B-B14F-4D97-AF65-F5344CB8AC3E}">
        <p14:creationId xmlns:p14="http://schemas.microsoft.com/office/powerpoint/2010/main" val="8789781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1BACB1-63C0-42C3-8AA4-92DFF314D20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/>
              <a:t>BOTT ØL INNFØRING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3E37B49-7174-4967-B223-EAEABDC962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6337" y="3645155"/>
            <a:ext cx="10363200" cy="65495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Veileder til rolle- og arbeidsorganisering </a:t>
            </a:r>
          </a:p>
        </p:txBody>
      </p:sp>
    </p:spTree>
    <p:extLst>
      <p:ext uri="{BB962C8B-B14F-4D97-AF65-F5344CB8AC3E}">
        <p14:creationId xmlns:p14="http://schemas.microsoft.com/office/powerpoint/2010/main" val="12923866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4" name="Object 143" hidden="1">
            <a:extLst>
              <a:ext uri="{FF2B5EF4-FFF2-40B4-BE49-F238E27FC236}">
                <a16:creationId xmlns:a16="http://schemas.microsoft.com/office/drawing/2014/main" id="{0CB2A435-027A-4A74-AEB6-310CFEC5BE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44" name="Object 143" hidden="1">
                        <a:extLst>
                          <a:ext uri="{FF2B5EF4-FFF2-40B4-BE49-F238E27FC236}">
                            <a16:creationId xmlns:a16="http://schemas.microsoft.com/office/drawing/2014/main" id="{0CB2A435-027A-4A74-AEB6-310CFEC5B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Title 41">
            <a:extLst>
              <a:ext uri="{FF2B5EF4-FFF2-40B4-BE49-F238E27FC236}">
                <a16:creationId xmlns:a16="http://schemas.microsoft.com/office/drawing/2014/main" id="{AE904E11-34DB-4EAC-AF5C-0D1551956F7E}"/>
              </a:ext>
            </a:extLst>
          </p:cNvPr>
          <p:cNvSpPr txBox="1">
            <a:spLocks/>
          </p:cNvSpPr>
          <p:nvPr/>
        </p:nvSpPr>
        <p:spPr>
          <a:xfrm>
            <a:off x="982524" y="2141326"/>
            <a:ext cx="641845" cy="58916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45720" rtlCol="0" anchor="t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1000">
                <a:latin typeface="+mj-lt"/>
              </a:rPr>
              <a:t>Valgfritt</a:t>
            </a:r>
          </a:p>
          <a:p>
            <a:pPr algn="ctr"/>
            <a:r>
              <a:rPr lang="nb-NO" sz="900" b="0" i="1">
                <a:latin typeface="+mj-lt"/>
              </a:rPr>
              <a:t>(Fakultet/</a:t>
            </a:r>
            <a:br>
              <a:rPr lang="nb-NO" sz="900" b="0" i="1">
                <a:latin typeface="+mj-lt"/>
              </a:rPr>
            </a:br>
            <a:r>
              <a:rPr lang="nb-NO" sz="900" b="0" i="1">
                <a:latin typeface="+mj-lt"/>
              </a:rPr>
              <a:t>Institutt/</a:t>
            </a:r>
            <a:br>
              <a:rPr lang="nb-NO" sz="900" b="0" i="1">
                <a:latin typeface="+mj-lt"/>
              </a:rPr>
            </a:br>
            <a:r>
              <a:rPr lang="nb-NO" sz="900" b="0" i="1">
                <a:latin typeface="+mj-lt"/>
              </a:rPr>
              <a:t>VM)</a:t>
            </a:r>
            <a:endParaRPr lang="nb-NO" sz="1000" b="0" i="1">
              <a:latin typeface="+mj-lt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E7E36FE-4CC5-4534-B909-A4C2BE0BFCC5}"/>
              </a:ext>
            </a:extLst>
          </p:cNvPr>
          <p:cNvCxnSpPr>
            <a:cxnSpLocks/>
            <a:stCxn id="133" idx="2"/>
          </p:cNvCxnSpPr>
          <p:nvPr/>
        </p:nvCxnSpPr>
        <p:spPr>
          <a:xfrm>
            <a:off x="11474161" y="651773"/>
            <a:ext cx="1" cy="1489552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2FDD7607-06F7-4E3D-B7E2-93FA3C2F01FF}"/>
              </a:ext>
            </a:extLst>
          </p:cNvPr>
          <p:cNvCxnSpPr>
            <a:cxnSpLocks/>
            <a:stCxn id="106" idx="2"/>
            <a:endCxn id="58" idx="13"/>
          </p:cNvCxnSpPr>
          <p:nvPr/>
        </p:nvCxnSpPr>
        <p:spPr>
          <a:xfrm>
            <a:off x="10608330" y="651773"/>
            <a:ext cx="0" cy="166237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FE76F1F-41C8-4C98-B949-1F5BCB1451AD}"/>
              </a:ext>
            </a:extLst>
          </p:cNvPr>
          <p:cNvCxnSpPr>
            <a:cxnSpLocks/>
            <a:stCxn id="105" idx="2"/>
            <a:endCxn id="64" idx="13"/>
          </p:cNvCxnSpPr>
          <p:nvPr/>
        </p:nvCxnSpPr>
        <p:spPr>
          <a:xfrm>
            <a:off x="9426554" y="667162"/>
            <a:ext cx="0" cy="1474164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9525BF93-0724-4885-912B-24B85F408B00}"/>
              </a:ext>
            </a:extLst>
          </p:cNvPr>
          <p:cNvCxnSpPr>
            <a:cxnSpLocks/>
            <a:stCxn id="104" idx="2"/>
            <a:endCxn id="39" idx="13"/>
          </p:cNvCxnSpPr>
          <p:nvPr/>
        </p:nvCxnSpPr>
        <p:spPr>
          <a:xfrm flipH="1">
            <a:off x="8360333" y="651773"/>
            <a:ext cx="10631" cy="1488757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BA4ED973-6F27-4A57-B85D-283134EF82E8}"/>
              </a:ext>
            </a:extLst>
          </p:cNvPr>
          <p:cNvCxnSpPr>
            <a:cxnSpLocks/>
            <a:stCxn id="103" idx="2"/>
            <a:endCxn id="51" idx="13"/>
          </p:cNvCxnSpPr>
          <p:nvPr/>
        </p:nvCxnSpPr>
        <p:spPr>
          <a:xfrm>
            <a:off x="7311982" y="651773"/>
            <a:ext cx="1" cy="1489553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B544F55D-AD1A-4F00-AD21-96145CE19C43}"/>
              </a:ext>
            </a:extLst>
          </p:cNvPr>
          <p:cNvCxnSpPr>
            <a:cxnSpLocks/>
            <a:stCxn id="102" idx="2"/>
            <a:endCxn id="69" idx="13"/>
          </p:cNvCxnSpPr>
          <p:nvPr/>
        </p:nvCxnSpPr>
        <p:spPr>
          <a:xfrm>
            <a:off x="5925956" y="427912"/>
            <a:ext cx="0" cy="2658634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81F968F-7BED-44EA-B0D4-6E50EBE84680}"/>
              </a:ext>
            </a:extLst>
          </p:cNvPr>
          <p:cNvCxnSpPr>
            <a:cxnSpLocks/>
            <a:stCxn id="101" idx="2"/>
            <a:endCxn id="27" idx="13"/>
          </p:cNvCxnSpPr>
          <p:nvPr/>
        </p:nvCxnSpPr>
        <p:spPr>
          <a:xfrm>
            <a:off x="4652508" y="427912"/>
            <a:ext cx="1" cy="1713414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02DD79C-3F91-4F32-9C36-2757EF724473}"/>
              </a:ext>
            </a:extLst>
          </p:cNvPr>
          <p:cNvCxnSpPr>
            <a:cxnSpLocks/>
            <a:stCxn id="107" idx="2"/>
          </p:cNvCxnSpPr>
          <p:nvPr/>
        </p:nvCxnSpPr>
        <p:spPr>
          <a:xfrm>
            <a:off x="2395660" y="427913"/>
            <a:ext cx="0" cy="1940969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0169F56-BA3E-43FF-8456-81A3CF22C0AF}"/>
              </a:ext>
            </a:extLst>
          </p:cNvPr>
          <p:cNvCxnSpPr>
            <a:cxnSpLocks/>
            <a:stCxn id="100" idx="2"/>
            <a:endCxn id="4" idx="13"/>
          </p:cNvCxnSpPr>
          <p:nvPr/>
        </p:nvCxnSpPr>
        <p:spPr>
          <a:xfrm>
            <a:off x="3504014" y="513042"/>
            <a:ext cx="1" cy="1628284"/>
          </a:xfrm>
          <a:prstGeom prst="line">
            <a:avLst/>
          </a:prstGeom>
          <a:ln w="12700">
            <a:solidFill>
              <a:schemeClr val="tx2">
                <a:lumMod val="20000"/>
                <a:lumOff val="8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E86FB69C-D94B-4CE0-873E-5B3388A93FFD}"/>
              </a:ext>
            </a:extLst>
          </p:cNvPr>
          <p:cNvGrpSpPr/>
          <p:nvPr/>
        </p:nvGrpSpPr>
        <p:grpSpPr>
          <a:xfrm>
            <a:off x="1767756" y="2141326"/>
            <a:ext cx="1213277" cy="931932"/>
            <a:chOff x="2079762" y="2610499"/>
            <a:chExt cx="1334604" cy="102512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FD886E3-3405-4618-94FC-53CCC64B73BB}"/>
                </a:ext>
              </a:extLst>
            </p:cNvPr>
            <p:cNvSpPr txBox="1"/>
            <p:nvPr/>
          </p:nvSpPr>
          <p:spPr>
            <a:xfrm>
              <a:off x="2079762" y="3077010"/>
              <a:ext cx="1334604" cy="55861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Personalgodkjenner</a:t>
              </a:r>
            </a:p>
            <a:p>
              <a:pPr algn="ctr"/>
              <a:r>
                <a:rPr lang="nb-NO" sz="900">
                  <a:latin typeface="+mj-lt"/>
                </a:rPr>
                <a:t>Lønn og lønnsnær HR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>
                <a:latin typeface="+mj-lt"/>
              </a:endParaRPr>
            </a:p>
          </p:txBody>
        </p:sp>
        <p:sp>
          <p:nvSpPr>
            <p:cNvPr id="11" name="Freeform 747">
              <a:extLst>
                <a:ext uri="{FF2B5EF4-FFF2-40B4-BE49-F238E27FC236}">
                  <a16:creationId xmlns:a16="http://schemas.microsoft.com/office/drawing/2014/main" id="{6C8BAA68-4122-4533-9FE5-E935C7495A5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516231" y="261049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8375CD-4504-4100-BD3B-FB5851FBFF4F}"/>
              </a:ext>
            </a:extLst>
          </p:cNvPr>
          <p:cNvGrpSpPr/>
          <p:nvPr/>
        </p:nvGrpSpPr>
        <p:grpSpPr>
          <a:xfrm>
            <a:off x="1747822" y="3082368"/>
            <a:ext cx="1213277" cy="919096"/>
            <a:chOff x="4429681" y="1930866"/>
            <a:chExt cx="1334604" cy="101100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BE1D834-D036-4DDD-952D-450A37ECEAA3}"/>
                </a:ext>
              </a:extLst>
            </p:cNvPr>
            <p:cNvSpPr txBox="1"/>
            <p:nvPr/>
          </p:nvSpPr>
          <p:spPr>
            <a:xfrm>
              <a:off x="4429681" y="2383258"/>
              <a:ext cx="1334604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Kostnadsgodkjenner*</a:t>
              </a:r>
            </a:p>
            <a:p>
              <a:pPr algn="ctr"/>
              <a:r>
                <a:rPr lang="nb-NO" sz="900">
                  <a:latin typeface="+mj-lt"/>
                </a:rPr>
                <a:t>Flere prosesser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>
                <a:latin typeface="+mj-lt"/>
              </a:endParaRPr>
            </a:p>
          </p:txBody>
        </p:sp>
        <p:sp>
          <p:nvSpPr>
            <p:cNvPr id="14" name="Freeform 747">
              <a:extLst>
                <a:ext uri="{FF2B5EF4-FFF2-40B4-BE49-F238E27FC236}">
                  <a16:creationId xmlns:a16="http://schemas.microsoft.com/office/drawing/2014/main" id="{C21EC631-404B-4773-85DD-3642C443306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66150" y="1930866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8A6AE1C-F00C-4688-9892-A22E517F567D}"/>
              </a:ext>
            </a:extLst>
          </p:cNvPr>
          <p:cNvGrpSpPr/>
          <p:nvPr/>
        </p:nvGrpSpPr>
        <p:grpSpPr>
          <a:xfrm>
            <a:off x="5202271" y="818010"/>
            <a:ext cx="1447370" cy="921301"/>
            <a:chOff x="1118789" y="3739589"/>
            <a:chExt cx="1592107" cy="1013433"/>
          </a:xfrm>
        </p:grpSpPr>
        <p:sp>
          <p:nvSpPr>
            <p:cNvPr id="17" name="Freeform 747">
              <a:extLst>
                <a:ext uri="{FF2B5EF4-FFF2-40B4-BE49-F238E27FC236}">
                  <a16:creationId xmlns:a16="http://schemas.microsoft.com/office/drawing/2014/main" id="{24DFC9CC-D717-4B24-9B7F-89D21429044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03A61C4-2190-4192-8A26-5EF619DED516}"/>
                </a:ext>
              </a:extLst>
            </p:cNvPr>
            <p:cNvSpPr txBox="1"/>
            <p:nvPr/>
          </p:nvSpPr>
          <p:spPr>
            <a:xfrm>
              <a:off x="1118789" y="4194408"/>
              <a:ext cx="1592107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Prosessrådgiver</a:t>
              </a:r>
              <a:endParaRPr lang="nb-NO" sz="900">
                <a:latin typeface="+mj-lt"/>
              </a:endParaRPr>
            </a:p>
            <a:p>
              <a:pPr algn="ctr"/>
              <a:r>
                <a:rPr lang="nb-NO" sz="900">
                  <a:latin typeface="+mj-lt"/>
                </a:rPr>
                <a:t>Prosjektidé til avslutning</a:t>
              </a:r>
              <a:br>
                <a:rPr lang="nb-NO" sz="900">
                  <a:latin typeface="+mj-lt"/>
                </a:rPr>
              </a:br>
              <a:r>
                <a:rPr lang="nb-NO" sz="900" i="1" err="1"/>
                <a:t>Fakultetsadm</a:t>
              </a:r>
              <a:r>
                <a:rPr lang="nb-NO" sz="900" i="1"/>
                <a:t>.</a:t>
              </a:r>
              <a:endParaRPr lang="nb-NO" sz="900">
                <a:latin typeface="+mj-lt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1F39BB7-C29B-42C5-A4A7-A6534D6FB1F7}"/>
              </a:ext>
            </a:extLst>
          </p:cNvPr>
          <p:cNvGrpSpPr/>
          <p:nvPr/>
        </p:nvGrpSpPr>
        <p:grpSpPr>
          <a:xfrm>
            <a:off x="4108793" y="818009"/>
            <a:ext cx="1087431" cy="921301"/>
            <a:chOff x="1316756" y="3739589"/>
            <a:chExt cx="1196174" cy="1013433"/>
          </a:xfrm>
        </p:grpSpPr>
        <p:sp>
          <p:nvSpPr>
            <p:cNvPr id="20" name="Freeform 747">
              <a:extLst>
                <a:ext uri="{FF2B5EF4-FFF2-40B4-BE49-F238E27FC236}">
                  <a16:creationId xmlns:a16="http://schemas.microsoft.com/office/drawing/2014/main" id="{89BAC2B2-EF60-4A50-ABEC-3A2CE83EC4C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A7A55B8-C86F-4559-9FE6-8C6F8A89B8A2}"/>
                </a:ext>
              </a:extLst>
            </p:cNvPr>
            <p:cNvSpPr txBox="1"/>
            <p:nvPr/>
          </p:nvSpPr>
          <p:spPr>
            <a:xfrm>
              <a:off x="1316756" y="4194407"/>
              <a:ext cx="1196174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Prosessrådgiver</a:t>
              </a:r>
              <a:endParaRPr lang="nb-NO" sz="900">
                <a:latin typeface="+mj-lt"/>
              </a:endParaRPr>
            </a:p>
            <a:p>
              <a:pPr algn="ctr"/>
              <a:r>
                <a:rPr lang="nb-NO" sz="900">
                  <a:latin typeface="+mj-lt"/>
                </a:rPr>
                <a:t>Behov til betaling</a:t>
              </a:r>
              <a:br>
                <a:rPr lang="nb-NO" sz="900">
                  <a:latin typeface="+mj-lt"/>
                </a:rPr>
              </a:br>
              <a:r>
                <a:rPr lang="nb-NO" sz="900" i="1" err="1"/>
                <a:t>Fakultetsadm</a:t>
              </a:r>
              <a:r>
                <a:rPr lang="nb-NO" sz="900" i="1"/>
                <a:t>.</a:t>
              </a:r>
              <a:endParaRPr lang="nb-NO" sz="900">
                <a:latin typeface="+mj-lt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6EACCF-E8B9-4365-B7FD-32258A3B5C6B}"/>
              </a:ext>
            </a:extLst>
          </p:cNvPr>
          <p:cNvGrpSpPr/>
          <p:nvPr/>
        </p:nvGrpSpPr>
        <p:grpSpPr>
          <a:xfrm>
            <a:off x="3994613" y="2141326"/>
            <a:ext cx="1315791" cy="931933"/>
            <a:chOff x="1191157" y="3739589"/>
            <a:chExt cx="1447370" cy="1025127"/>
          </a:xfrm>
        </p:grpSpPr>
        <p:sp>
          <p:nvSpPr>
            <p:cNvPr id="27" name="Freeform 747">
              <a:extLst>
                <a:ext uri="{FF2B5EF4-FFF2-40B4-BE49-F238E27FC236}">
                  <a16:creationId xmlns:a16="http://schemas.microsoft.com/office/drawing/2014/main" id="{F227B45F-9FB7-4827-AA2C-C8A42112850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8837765-6B6D-4877-AE79-C41CE2292251}"/>
                </a:ext>
              </a:extLst>
            </p:cNvPr>
            <p:cNvSpPr txBox="1"/>
            <p:nvPr/>
          </p:nvSpPr>
          <p:spPr>
            <a:xfrm>
              <a:off x="1191157" y="4206101"/>
              <a:ext cx="1447370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Innkjøper*</a:t>
              </a:r>
            </a:p>
            <a:p>
              <a:pPr algn="ctr"/>
              <a:r>
                <a:rPr lang="nb-NO" sz="900">
                  <a:latin typeface="+mj-lt"/>
                </a:rPr>
                <a:t>Behov til betaling 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05E702B-801A-4F57-8D40-6C3881CCFC30}"/>
              </a:ext>
            </a:extLst>
          </p:cNvPr>
          <p:cNvGrpSpPr/>
          <p:nvPr/>
        </p:nvGrpSpPr>
        <p:grpSpPr>
          <a:xfrm>
            <a:off x="3994613" y="3059631"/>
            <a:ext cx="1315791" cy="931933"/>
            <a:chOff x="1191157" y="3739589"/>
            <a:chExt cx="1447370" cy="1025127"/>
          </a:xfrm>
        </p:grpSpPr>
        <p:sp>
          <p:nvSpPr>
            <p:cNvPr id="30" name="Freeform 747">
              <a:extLst>
                <a:ext uri="{FF2B5EF4-FFF2-40B4-BE49-F238E27FC236}">
                  <a16:creationId xmlns:a16="http://schemas.microsoft.com/office/drawing/2014/main" id="{C8C51117-E096-49C6-BFEC-7E148CD8484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227A08D-8B1C-43EF-A62E-29B5A22FFB25}"/>
                </a:ext>
              </a:extLst>
            </p:cNvPr>
            <p:cNvSpPr txBox="1"/>
            <p:nvPr/>
          </p:nvSpPr>
          <p:spPr>
            <a:xfrm>
              <a:off x="1191157" y="4206101"/>
              <a:ext cx="1447370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Fagrekvirent</a:t>
              </a:r>
            </a:p>
            <a:p>
              <a:pPr algn="ctr"/>
              <a:r>
                <a:rPr lang="nb-NO" sz="900">
                  <a:latin typeface="+mj-lt"/>
                </a:rPr>
                <a:t>Behov til betaling 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F81A087-F316-40AB-9760-0D99030C1E8C}"/>
              </a:ext>
            </a:extLst>
          </p:cNvPr>
          <p:cNvGrpSpPr/>
          <p:nvPr/>
        </p:nvGrpSpPr>
        <p:grpSpPr>
          <a:xfrm>
            <a:off x="6654087" y="2141326"/>
            <a:ext cx="1315791" cy="931933"/>
            <a:chOff x="1191157" y="3739589"/>
            <a:chExt cx="1447370" cy="1025127"/>
          </a:xfrm>
        </p:grpSpPr>
        <p:sp>
          <p:nvSpPr>
            <p:cNvPr id="51" name="Freeform 747">
              <a:extLst>
                <a:ext uri="{FF2B5EF4-FFF2-40B4-BE49-F238E27FC236}">
                  <a16:creationId xmlns:a16="http://schemas.microsoft.com/office/drawing/2014/main" id="{431E794F-6BF0-40E7-91ED-2B1BCD75E82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E5316B0-7F69-4276-93BC-C023DA228401}"/>
                </a:ext>
              </a:extLst>
            </p:cNvPr>
            <p:cNvSpPr txBox="1"/>
            <p:nvPr/>
          </p:nvSpPr>
          <p:spPr>
            <a:xfrm>
              <a:off x="1191157" y="4206101"/>
              <a:ext cx="1447370" cy="55861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Fakturaansvarlig</a:t>
              </a:r>
            </a:p>
            <a:p>
              <a:pPr algn="ctr"/>
              <a:r>
                <a:rPr lang="nb-NO" sz="900">
                  <a:latin typeface="+mj-lt"/>
                </a:rPr>
                <a:t>Fordring til innbetaling 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DF58A46-71DD-4083-A263-3847831E2CAD}"/>
              </a:ext>
            </a:extLst>
          </p:cNvPr>
          <p:cNvGrpSpPr/>
          <p:nvPr/>
        </p:nvGrpSpPr>
        <p:grpSpPr>
          <a:xfrm>
            <a:off x="9941028" y="818010"/>
            <a:ext cx="1334605" cy="908463"/>
            <a:chOff x="4362951" y="1930866"/>
            <a:chExt cx="1468065" cy="999310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EA533B6-1B4B-41B9-8E2D-8DC077B2E199}"/>
                </a:ext>
              </a:extLst>
            </p:cNvPr>
            <p:cNvSpPr txBox="1"/>
            <p:nvPr/>
          </p:nvSpPr>
          <p:spPr>
            <a:xfrm>
              <a:off x="4362951" y="2371561"/>
              <a:ext cx="1468065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Periodeavslutter enhet</a:t>
              </a:r>
            </a:p>
            <a:p>
              <a:pPr algn="ctr"/>
              <a:r>
                <a:rPr lang="nb-NO" sz="900">
                  <a:latin typeface="+mj-lt"/>
                </a:rPr>
                <a:t>Periodeavslutning</a:t>
              </a:r>
              <a:br>
                <a:rPr lang="nb-NO" sz="900">
                  <a:latin typeface="+mj-lt"/>
                </a:rPr>
              </a:br>
              <a:r>
                <a:rPr lang="nb-NO" sz="900" i="1" err="1">
                  <a:latin typeface="+mj-lt"/>
                </a:rPr>
                <a:t>Fakultetsadm</a:t>
              </a:r>
              <a:r>
                <a:rPr lang="nb-NO" sz="900" i="1">
                  <a:latin typeface="+mj-lt"/>
                </a:rPr>
                <a:t>.</a:t>
              </a:r>
              <a:endParaRPr lang="nb-NO" sz="900">
                <a:latin typeface="+mj-lt"/>
              </a:endParaRPr>
            </a:p>
          </p:txBody>
        </p:sp>
        <p:sp>
          <p:nvSpPr>
            <p:cNvPr id="58" name="Freeform 747">
              <a:extLst>
                <a:ext uri="{FF2B5EF4-FFF2-40B4-BE49-F238E27FC236}">
                  <a16:creationId xmlns:a16="http://schemas.microsoft.com/office/drawing/2014/main" id="{896A151A-05AE-4BD0-89BB-BFF3F2F3E51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66150" y="1930866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0160D63-5B94-4980-A8F4-688F14C257DA}"/>
              </a:ext>
            </a:extLst>
          </p:cNvPr>
          <p:cNvGrpSpPr/>
          <p:nvPr/>
        </p:nvGrpSpPr>
        <p:grpSpPr>
          <a:xfrm>
            <a:off x="8759252" y="2141326"/>
            <a:ext cx="1334605" cy="919097"/>
            <a:chOff x="4362951" y="1930866"/>
            <a:chExt cx="1468065" cy="1011007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4E4B8F0-0D0D-4B56-ACEB-DB191072B85D}"/>
                </a:ext>
              </a:extLst>
            </p:cNvPr>
            <p:cNvSpPr txBox="1"/>
            <p:nvPr/>
          </p:nvSpPr>
          <p:spPr>
            <a:xfrm>
              <a:off x="4362951" y="2383258"/>
              <a:ext cx="1468065" cy="55861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Bilagsbehandler</a:t>
              </a:r>
            </a:p>
            <a:p>
              <a:pPr algn="ctr"/>
              <a:r>
                <a:rPr lang="nb-NO" sz="900">
                  <a:latin typeface="+mj-lt"/>
                </a:rPr>
                <a:t>Andre økonomiprosesser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>
                <a:latin typeface="+mj-lt"/>
              </a:endParaRPr>
            </a:p>
          </p:txBody>
        </p:sp>
        <p:sp>
          <p:nvSpPr>
            <p:cNvPr id="64" name="Freeform 747">
              <a:extLst>
                <a:ext uri="{FF2B5EF4-FFF2-40B4-BE49-F238E27FC236}">
                  <a16:creationId xmlns:a16="http://schemas.microsoft.com/office/drawing/2014/main" id="{C916A4B1-C534-4C0D-BE27-834FA654482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66150" y="1930866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F56B5A2-1A39-482C-8B27-395DA2BC6BF8}"/>
              </a:ext>
            </a:extLst>
          </p:cNvPr>
          <p:cNvGrpSpPr/>
          <p:nvPr/>
        </p:nvGrpSpPr>
        <p:grpSpPr>
          <a:xfrm>
            <a:off x="3994613" y="3993157"/>
            <a:ext cx="1315791" cy="931932"/>
            <a:chOff x="1191157" y="3739589"/>
            <a:chExt cx="1447370" cy="1025124"/>
          </a:xfrm>
        </p:grpSpPr>
        <p:sp>
          <p:nvSpPr>
            <p:cNvPr id="66" name="Freeform 747">
              <a:extLst>
                <a:ext uri="{FF2B5EF4-FFF2-40B4-BE49-F238E27FC236}">
                  <a16:creationId xmlns:a16="http://schemas.microsoft.com/office/drawing/2014/main" id="{9901191B-EF29-4390-97B1-739AA98B398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FA50B29-DE6E-4732-8829-F4C0A36C49DC}"/>
                </a:ext>
              </a:extLst>
            </p:cNvPr>
            <p:cNvSpPr txBox="1"/>
            <p:nvPr/>
          </p:nvSpPr>
          <p:spPr>
            <a:xfrm>
              <a:off x="1191157" y="4206100"/>
              <a:ext cx="1447370" cy="55861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Anskaffelsesrådgiver*</a:t>
              </a:r>
            </a:p>
            <a:p>
              <a:pPr algn="ctr"/>
              <a:r>
                <a:rPr lang="nb-NO" sz="900"/>
                <a:t>Behov til betaling</a:t>
              </a:r>
            </a:p>
            <a:p>
              <a:pPr algn="ctr"/>
              <a:r>
                <a:rPr lang="nb-NO" sz="900" i="1"/>
                <a:t>Enhet </a:t>
              </a:r>
              <a:r>
                <a:rPr lang="nb-NO" sz="900" i="1" err="1"/>
                <a:t>n.n</a:t>
              </a:r>
              <a:r>
                <a:rPr lang="nb-NO" sz="900" b="1">
                  <a:latin typeface="+mj-lt"/>
                </a:rPr>
                <a:t> 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20464F9-A09C-410C-B928-5DC67665D203}"/>
              </a:ext>
            </a:extLst>
          </p:cNvPr>
          <p:cNvGrpSpPr/>
          <p:nvPr/>
        </p:nvGrpSpPr>
        <p:grpSpPr>
          <a:xfrm>
            <a:off x="5202271" y="3086546"/>
            <a:ext cx="1447370" cy="931934"/>
            <a:chOff x="1118789" y="3739589"/>
            <a:chExt cx="1592107" cy="1025129"/>
          </a:xfrm>
        </p:grpSpPr>
        <p:sp>
          <p:nvSpPr>
            <p:cNvPr id="69" name="Freeform 747">
              <a:extLst>
                <a:ext uri="{FF2B5EF4-FFF2-40B4-BE49-F238E27FC236}">
                  <a16:creationId xmlns:a16="http://schemas.microsoft.com/office/drawing/2014/main" id="{C6F0D660-2912-4B91-B1A9-93C1BE42C84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720D30A-1889-40B9-BC7E-439B791115D2}"/>
                </a:ext>
              </a:extLst>
            </p:cNvPr>
            <p:cNvSpPr txBox="1"/>
            <p:nvPr/>
          </p:nvSpPr>
          <p:spPr>
            <a:xfrm>
              <a:off x="1118789" y="4206104"/>
              <a:ext cx="1592107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Prosjektleder</a:t>
              </a:r>
            </a:p>
            <a:p>
              <a:pPr algn="ctr"/>
              <a:r>
                <a:rPr lang="nb-NO" sz="900"/>
                <a:t>Prosjektidé til avslutning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8685D20-4FC5-4C12-A73B-40B2DB661259}"/>
              </a:ext>
            </a:extLst>
          </p:cNvPr>
          <p:cNvGrpSpPr/>
          <p:nvPr/>
        </p:nvGrpSpPr>
        <p:grpSpPr>
          <a:xfrm>
            <a:off x="5202271" y="4938377"/>
            <a:ext cx="1447370" cy="931934"/>
            <a:chOff x="1118789" y="3739589"/>
            <a:chExt cx="1592107" cy="1025127"/>
          </a:xfrm>
        </p:grpSpPr>
        <p:sp>
          <p:nvSpPr>
            <p:cNvPr id="75" name="Freeform 747">
              <a:extLst>
                <a:ext uri="{FF2B5EF4-FFF2-40B4-BE49-F238E27FC236}">
                  <a16:creationId xmlns:a16="http://schemas.microsoft.com/office/drawing/2014/main" id="{A175F23F-A944-4AE5-A284-39F4A910D8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E0828607-6392-48EC-A880-D545FD1EAFEA}"/>
                </a:ext>
              </a:extLst>
            </p:cNvPr>
            <p:cNvSpPr txBox="1"/>
            <p:nvPr/>
          </p:nvSpPr>
          <p:spPr>
            <a:xfrm>
              <a:off x="1118789" y="4206102"/>
              <a:ext cx="1592107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 err="1">
                  <a:latin typeface="+mj-lt"/>
                </a:rPr>
                <a:t>Søknadsregisterer</a:t>
              </a:r>
              <a:endParaRPr lang="nb-NO" sz="900" b="1">
                <a:latin typeface="+mj-lt"/>
              </a:endParaRPr>
            </a:p>
            <a:p>
              <a:pPr algn="ctr"/>
              <a:r>
                <a:rPr lang="nb-NO" sz="900"/>
                <a:t>Prosjektidé til avslutning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1296149-61AD-4134-A783-52B47DC553A8}"/>
              </a:ext>
            </a:extLst>
          </p:cNvPr>
          <p:cNvGrpSpPr/>
          <p:nvPr/>
        </p:nvGrpSpPr>
        <p:grpSpPr>
          <a:xfrm>
            <a:off x="5202271" y="4004851"/>
            <a:ext cx="1447370" cy="931934"/>
            <a:chOff x="1118789" y="3739589"/>
            <a:chExt cx="1592107" cy="1025127"/>
          </a:xfrm>
        </p:grpSpPr>
        <p:sp>
          <p:nvSpPr>
            <p:cNvPr id="81" name="Freeform 747">
              <a:extLst>
                <a:ext uri="{FF2B5EF4-FFF2-40B4-BE49-F238E27FC236}">
                  <a16:creationId xmlns:a16="http://schemas.microsoft.com/office/drawing/2014/main" id="{1FB3100B-40F7-4798-B47D-9322E107811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B8F0455-EA3C-4A52-AD6D-EA15FCC87279}"/>
                </a:ext>
              </a:extLst>
            </p:cNvPr>
            <p:cNvSpPr txBox="1"/>
            <p:nvPr/>
          </p:nvSpPr>
          <p:spPr>
            <a:xfrm>
              <a:off x="1118789" y="4206102"/>
              <a:ext cx="1592107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Prosjektøkonom*</a:t>
              </a:r>
            </a:p>
            <a:p>
              <a:pPr algn="ctr"/>
              <a:r>
                <a:rPr lang="nb-NO" sz="900"/>
                <a:t>Prosjektidé til avslutning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</a:t>
              </a:r>
              <a:endParaRPr lang="nb-NO" sz="900" i="1">
                <a:latin typeface="+mj-lt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27FB06A4-F04B-44CB-8993-F67ABD2F0D71}"/>
              </a:ext>
            </a:extLst>
          </p:cNvPr>
          <p:cNvSpPr txBox="1"/>
          <p:nvPr/>
        </p:nvSpPr>
        <p:spPr>
          <a:xfrm>
            <a:off x="9216706" y="6393904"/>
            <a:ext cx="2821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/>
              <a:t>*Særskilte kriterier eller anbefalinger knyttet til rollen</a:t>
            </a:r>
          </a:p>
          <a:p>
            <a:r>
              <a:rPr lang="nb-NO" sz="900" i="1"/>
              <a:t>**Nytt ansvarsområde som bør vies oppmerksomhe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A290D5C-6646-439C-BEF6-239E7E61836C}"/>
              </a:ext>
            </a:extLst>
          </p:cNvPr>
          <p:cNvSpPr txBox="1"/>
          <p:nvPr/>
        </p:nvSpPr>
        <p:spPr>
          <a:xfrm>
            <a:off x="2905927" y="172523"/>
            <a:ext cx="1196174" cy="340519"/>
          </a:xfrm>
          <a:prstGeom prst="roundRect">
            <a:avLst/>
          </a:prstGeom>
          <a:solidFill>
            <a:srgbClr val="01509D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1000">
                <a:solidFill>
                  <a:schemeClr val="bg1"/>
                </a:solidFill>
                <a:latin typeface="+mj-lt"/>
              </a:rPr>
              <a:t>Lønn og Lønnsnær HR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0163013-BF03-4BC7-8D48-5AECE338E676}"/>
              </a:ext>
            </a:extLst>
          </p:cNvPr>
          <p:cNvSpPr txBox="1"/>
          <p:nvPr/>
        </p:nvSpPr>
        <p:spPr>
          <a:xfrm>
            <a:off x="4158221" y="257653"/>
            <a:ext cx="988574" cy="170259"/>
          </a:xfrm>
          <a:prstGeom prst="roundRect">
            <a:avLst/>
          </a:prstGeom>
          <a:solidFill>
            <a:srgbClr val="01509D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900">
                <a:solidFill>
                  <a:schemeClr val="bg1"/>
                </a:solidFill>
                <a:latin typeface="+mj-lt"/>
              </a:rPr>
              <a:t>Behov til </a:t>
            </a:r>
            <a:r>
              <a:rPr lang="nb-NO" sz="1000">
                <a:solidFill>
                  <a:schemeClr val="bg1"/>
                </a:solidFill>
                <a:latin typeface="+mj-lt"/>
              </a:rPr>
              <a:t>Betaling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205FE53-401B-4839-BB22-0658DA394106}"/>
              </a:ext>
            </a:extLst>
          </p:cNvPr>
          <p:cNvSpPr txBox="1"/>
          <p:nvPr/>
        </p:nvSpPr>
        <p:spPr>
          <a:xfrm>
            <a:off x="5202271" y="257653"/>
            <a:ext cx="1447370" cy="170259"/>
          </a:xfrm>
          <a:prstGeom prst="roundRect">
            <a:avLst/>
          </a:prstGeom>
          <a:solidFill>
            <a:srgbClr val="01509D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1000">
                <a:solidFill>
                  <a:schemeClr val="bg1"/>
                </a:solidFill>
                <a:latin typeface="+mj-lt"/>
              </a:rPr>
              <a:t>Prosjektidé til avslutning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A4B4655-8CEB-4A72-B04F-D53F10C1049F}"/>
              </a:ext>
            </a:extLst>
          </p:cNvPr>
          <p:cNvSpPr txBox="1"/>
          <p:nvPr/>
        </p:nvSpPr>
        <p:spPr>
          <a:xfrm>
            <a:off x="6588297" y="513274"/>
            <a:ext cx="144737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900" i="1">
                <a:latin typeface="+mj-lt"/>
              </a:rPr>
              <a:t>Fordring til Innbetaling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3DA3706D-AFF8-4F3E-BDBE-FB0C011C2254}"/>
              </a:ext>
            </a:extLst>
          </p:cNvPr>
          <p:cNvSpPr txBox="1"/>
          <p:nvPr/>
        </p:nvSpPr>
        <p:spPr>
          <a:xfrm>
            <a:off x="7647279" y="513274"/>
            <a:ext cx="144737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900" i="1">
                <a:latin typeface="+mj-lt"/>
              </a:rPr>
              <a:t>Anleggsmidler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BC53818-7A2F-4B8E-9D6C-49BFB4747AAB}"/>
              </a:ext>
            </a:extLst>
          </p:cNvPr>
          <p:cNvSpPr txBox="1"/>
          <p:nvPr/>
        </p:nvSpPr>
        <p:spPr>
          <a:xfrm>
            <a:off x="8702869" y="513274"/>
            <a:ext cx="144737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000" i="1">
                <a:latin typeface="+mj-lt"/>
              </a:rPr>
              <a:t>Andre </a:t>
            </a:r>
            <a:r>
              <a:rPr lang="nb-NO" sz="900" i="1">
                <a:latin typeface="+mj-lt"/>
              </a:rPr>
              <a:t>økonomiprosesser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B0380EC-05CD-4D42-8F95-F560C460BE61}"/>
              </a:ext>
            </a:extLst>
          </p:cNvPr>
          <p:cNvSpPr txBox="1"/>
          <p:nvPr/>
        </p:nvSpPr>
        <p:spPr>
          <a:xfrm>
            <a:off x="9884645" y="513274"/>
            <a:ext cx="144737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900" i="1">
                <a:latin typeface="+mj-lt"/>
              </a:rPr>
              <a:t>Periodeavslutning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DC0C2EEB-B2E8-4D3B-8D01-901F39E3C837}"/>
              </a:ext>
            </a:extLst>
          </p:cNvPr>
          <p:cNvSpPr txBox="1"/>
          <p:nvPr/>
        </p:nvSpPr>
        <p:spPr>
          <a:xfrm>
            <a:off x="1946308" y="257653"/>
            <a:ext cx="898704" cy="170259"/>
          </a:xfrm>
          <a:prstGeom prst="roundRect">
            <a:avLst/>
          </a:prstGeom>
          <a:solidFill>
            <a:srgbClr val="01509D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1000">
                <a:solidFill>
                  <a:schemeClr val="bg1"/>
                </a:solidFill>
                <a:latin typeface="+mj-lt"/>
              </a:rPr>
              <a:t>Lederroller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DA4E2E4-EA90-4CAB-A320-5A7BC85E7CA3}"/>
              </a:ext>
            </a:extLst>
          </p:cNvPr>
          <p:cNvSpPr txBox="1"/>
          <p:nvPr/>
        </p:nvSpPr>
        <p:spPr>
          <a:xfrm>
            <a:off x="6700019" y="257653"/>
            <a:ext cx="1447370" cy="170259"/>
          </a:xfrm>
          <a:prstGeom prst="roundRect">
            <a:avLst/>
          </a:prstGeom>
          <a:solidFill>
            <a:srgbClr val="01509D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1000">
                <a:solidFill>
                  <a:schemeClr val="bg1"/>
                </a:solidFill>
                <a:latin typeface="+mj-lt"/>
              </a:rPr>
              <a:t>Øvrige BOTT-prosesser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AC366D50-303B-4E11-9AAD-919A9CC03E60}"/>
              </a:ext>
            </a:extLst>
          </p:cNvPr>
          <p:cNvSpPr txBox="1"/>
          <p:nvPr/>
        </p:nvSpPr>
        <p:spPr>
          <a:xfrm>
            <a:off x="11136556" y="513274"/>
            <a:ext cx="6752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900" i="1">
                <a:latin typeface="+mj-lt"/>
              </a:rPr>
              <a:t>Budsjett</a:t>
            </a: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21D1092-B9BC-4E64-AF85-822C500090CA}"/>
              </a:ext>
            </a:extLst>
          </p:cNvPr>
          <p:cNvGrpSpPr/>
          <p:nvPr/>
        </p:nvGrpSpPr>
        <p:grpSpPr>
          <a:xfrm>
            <a:off x="10979875" y="2141326"/>
            <a:ext cx="988574" cy="931933"/>
            <a:chOff x="1371127" y="3739589"/>
            <a:chExt cx="1087431" cy="1025126"/>
          </a:xfrm>
        </p:grpSpPr>
        <p:sp>
          <p:nvSpPr>
            <p:cNvPr id="138" name="Freeform 747">
              <a:extLst>
                <a:ext uri="{FF2B5EF4-FFF2-40B4-BE49-F238E27FC236}">
                  <a16:creationId xmlns:a16="http://schemas.microsoft.com/office/drawing/2014/main" id="{C769237B-F5A8-4655-B4FC-FEEA2050CC2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F24ABBE-EED4-480C-8F46-A5C658E8563C}"/>
                </a:ext>
              </a:extLst>
            </p:cNvPr>
            <p:cNvSpPr txBox="1"/>
            <p:nvPr/>
          </p:nvSpPr>
          <p:spPr>
            <a:xfrm>
              <a:off x="1371127" y="4206102"/>
              <a:ext cx="1087431" cy="55861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Controller Budsjett*</a:t>
              </a:r>
            </a:p>
            <a:p>
              <a:pPr algn="ctr"/>
              <a:r>
                <a:rPr lang="nb-NO" sz="900"/>
                <a:t>Budsjett</a:t>
              </a:r>
              <a:br>
                <a:rPr lang="nb-NO" sz="900"/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36C7DB9-43A8-4FCB-832B-64796149713C}"/>
              </a:ext>
            </a:extLst>
          </p:cNvPr>
          <p:cNvGrpSpPr/>
          <p:nvPr/>
        </p:nvGrpSpPr>
        <p:grpSpPr>
          <a:xfrm>
            <a:off x="3994613" y="4908351"/>
            <a:ext cx="1315791" cy="931933"/>
            <a:chOff x="1191157" y="3739589"/>
            <a:chExt cx="1447370" cy="1025127"/>
          </a:xfrm>
        </p:grpSpPr>
        <p:sp>
          <p:nvSpPr>
            <p:cNvPr id="33" name="Freeform 747">
              <a:extLst>
                <a:ext uri="{FF2B5EF4-FFF2-40B4-BE49-F238E27FC236}">
                  <a16:creationId xmlns:a16="http://schemas.microsoft.com/office/drawing/2014/main" id="{A2683CC8-F82A-4527-9EBF-1A6BB20D961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26B233A-1B6B-4DA8-BC8D-5532E808B8B6}"/>
                </a:ext>
              </a:extLst>
            </p:cNvPr>
            <p:cNvSpPr txBox="1"/>
            <p:nvPr/>
          </p:nvSpPr>
          <p:spPr>
            <a:xfrm>
              <a:off x="1191157" y="4206101"/>
              <a:ext cx="1447370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Varemottaker</a:t>
              </a:r>
            </a:p>
            <a:p>
              <a:pPr algn="ctr"/>
              <a:r>
                <a:rPr lang="nb-NO" sz="900">
                  <a:latin typeface="+mj-lt"/>
                </a:rPr>
                <a:t>Behov til betaling 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98DCB20-7378-4895-96DB-5E0D6D27BEAE}"/>
              </a:ext>
            </a:extLst>
          </p:cNvPr>
          <p:cNvGrpSpPr/>
          <p:nvPr/>
        </p:nvGrpSpPr>
        <p:grpSpPr>
          <a:xfrm>
            <a:off x="3994613" y="5816709"/>
            <a:ext cx="1315791" cy="931933"/>
            <a:chOff x="1191157" y="3739589"/>
            <a:chExt cx="1447370" cy="1025127"/>
          </a:xfrm>
        </p:grpSpPr>
        <p:sp>
          <p:nvSpPr>
            <p:cNvPr id="36" name="Freeform 747">
              <a:extLst>
                <a:ext uri="{FF2B5EF4-FFF2-40B4-BE49-F238E27FC236}">
                  <a16:creationId xmlns:a16="http://schemas.microsoft.com/office/drawing/2014/main" id="{13CDDBF3-C635-4665-8923-91FFADB95FC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E8ECB9-5122-4FF9-A484-DF25128246FD}"/>
                </a:ext>
              </a:extLst>
            </p:cNvPr>
            <p:cNvSpPr txBox="1"/>
            <p:nvPr/>
          </p:nvSpPr>
          <p:spPr>
            <a:xfrm>
              <a:off x="1191157" y="4206101"/>
              <a:ext cx="1447370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Fakturabekrefter</a:t>
              </a:r>
            </a:p>
            <a:p>
              <a:pPr algn="ctr"/>
              <a:r>
                <a:rPr lang="nb-NO" sz="900">
                  <a:latin typeface="+mj-lt"/>
                </a:rPr>
                <a:t>Behov til betaling</a:t>
              </a:r>
              <a:r>
                <a:rPr lang="nb-NO" sz="900" b="1">
                  <a:latin typeface="+mj-lt"/>
                </a:rPr>
                <a:t> 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9265B48-2C5B-4F39-8FCD-448E0A7C405B}"/>
              </a:ext>
            </a:extLst>
          </p:cNvPr>
          <p:cNvGrpSpPr/>
          <p:nvPr/>
        </p:nvGrpSpPr>
        <p:grpSpPr>
          <a:xfrm>
            <a:off x="7866045" y="2140530"/>
            <a:ext cx="988574" cy="931933"/>
            <a:chOff x="1371126" y="3739589"/>
            <a:chExt cx="1087431" cy="1025127"/>
          </a:xfrm>
        </p:grpSpPr>
        <p:sp>
          <p:nvSpPr>
            <p:cNvPr id="39" name="Freeform 747">
              <a:extLst>
                <a:ext uri="{FF2B5EF4-FFF2-40B4-BE49-F238E27FC236}">
                  <a16:creationId xmlns:a16="http://schemas.microsoft.com/office/drawing/2014/main" id="{7FB1219F-53D4-4916-BCEC-A3E58FD005B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800"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5B93F82-D85F-4564-A907-7593CADA63E4}"/>
                </a:ext>
              </a:extLst>
            </p:cNvPr>
            <p:cNvSpPr txBox="1"/>
            <p:nvPr/>
          </p:nvSpPr>
          <p:spPr>
            <a:xfrm>
              <a:off x="1371126" y="4206102"/>
              <a:ext cx="1087431" cy="55861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Anleggshåndterer** </a:t>
              </a:r>
              <a:br>
                <a:rPr lang="nb-NO" sz="900">
                  <a:latin typeface="+mj-lt"/>
                </a:rPr>
              </a:br>
              <a:r>
                <a:rPr lang="nb-NO" sz="900">
                  <a:latin typeface="+mj-lt"/>
                </a:rPr>
                <a:t>Anleggsmidler</a:t>
              </a:r>
            </a:p>
            <a:p>
              <a:pPr algn="ctr"/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sp>
        <p:nvSpPr>
          <p:cNvPr id="85" name="Left Brace 84">
            <a:extLst>
              <a:ext uri="{FF2B5EF4-FFF2-40B4-BE49-F238E27FC236}">
                <a16:creationId xmlns:a16="http://schemas.microsoft.com/office/drawing/2014/main" id="{2C404C4E-C524-4788-826B-9D70A319F167}"/>
              </a:ext>
            </a:extLst>
          </p:cNvPr>
          <p:cNvSpPr/>
          <p:nvPr/>
        </p:nvSpPr>
        <p:spPr>
          <a:xfrm>
            <a:off x="1725491" y="2088161"/>
            <a:ext cx="137628" cy="4554772"/>
          </a:xfrm>
          <a:prstGeom prst="leftBrace">
            <a:avLst>
              <a:gd name="adj1" fmla="val 8333"/>
              <a:gd name="adj2" fmla="val 7593"/>
            </a:avLst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8" name="Title 41">
            <a:extLst>
              <a:ext uri="{FF2B5EF4-FFF2-40B4-BE49-F238E27FC236}">
                <a16:creationId xmlns:a16="http://schemas.microsoft.com/office/drawing/2014/main" id="{F74C46BC-A20E-48CD-8376-57AC0495F25F}"/>
              </a:ext>
            </a:extLst>
          </p:cNvPr>
          <p:cNvSpPr txBox="1">
            <a:spLocks/>
          </p:cNvSpPr>
          <p:nvPr/>
        </p:nvSpPr>
        <p:spPr>
          <a:xfrm>
            <a:off x="982524" y="818010"/>
            <a:ext cx="641845" cy="48691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45720" rtlCol="0" anchor="t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1000">
                <a:latin typeface="+mj-lt"/>
              </a:rPr>
              <a:t>Anbefalt </a:t>
            </a:r>
            <a:br>
              <a:rPr lang="nb-NO" sz="1000">
                <a:latin typeface="+mj-lt"/>
              </a:rPr>
            </a:br>
            <a:r>
              <a:rPr lang="nb-NO" sz="1000" b="0">
                <a:latin typeface="+mj-lt"/>
              </a:rPr>
              <a:t>på fakultet/</a:t>
            </a:r>
            <a:br>
              <a:rPr lang="nb-NO" sz="1000" b="0">
                <a:latin typeface="+mj-lt"/>
              </a:rPr>
            </a:br>
            <a:r>
              <a:rPr lang="nb-NO" sz="1000" b="0">
                <a:latin typeface="+mj-lt"/>
              </a:rPr>
              <a:t>VM</a:t>
            </a:r>
          </a:p>
        </p:txBody>
      </p:sp>
      <p:sp>
        <p:nvSpPr>
          <p:cNvPr id="119" name="Left Brace 118">
            <a:extLst>
              <a:ext uri="{FF2B5EF4-FFF2-40B4-BE49-F238E27FC236}">
                <a16:creationId xmlns:a16="http://schemas.microsoft.com/office/drawing/2014/main" id="{F1E50EA6-9E8F-4332-955B-E73B17B4487B}"/>
              </a:ext>
            </a:extLst>
          </p:cNvPr>
          <p:cNvSpPr/>
          <p:nvPr/>
        </p:nvSpPr>
        <p:spPr>
          <a:xfrm>
            <a:off x="1725491" y="675719"/>
            <a:ext cx="137628" cy="1199414"/>
          </a:xfrm>
          <a:prstGeom prst="leftBrace">
            <a:avLst>
              <a:gd name="adj1" fmla="val 8333"/>
              <a:gd name="adj2" fmla="val 27728"/>
            </a:avLst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54BA30D-8527-4E49-8672-DCDB05E5AE66}"/>
              </a:ext>
            </a:extLst>
          </p:cNvPr>
          <p:cNvGrpSpPr/>
          <p:nvPr/>
        </p:nvGrpSpPr>
        <p:grpSpPr>
          <a:xfrm>
            <a:off x="2905927" y="2141326"/>
            <a:ext cx="1196174" cy="931933"/>
            <a:chOff x="840588" y="2610499"/>
            <a:chExt cx="1315791" cy="1025127"/>
          </a:xfrm>
        </p:grpSpPr>
        <p:sp>
          <p:nvSpPr>
            <p:cNvPr id="4" name="Freeform 747">
              <a:extLst>
                <a:ext uri="{FF2B5EF4-FFF2-40B4-BE49-F238E27FC236}">
                  <a16:creationId xmlns:a16="http://schemas.microsoft.com/office/drawing/2014/main" id="{59D66831-3F6F-45E4-965B-56A38A5E882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67652" y="261049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113F95B-8646-453F-B685-0252BEFC6BFC}"/>
                </a:ext>
              </a:extLst>
            </p:cNvPr>
            <p:cNvSpPr txBox="1"/>
            <p:nvPr/>
          </p:nvSpPr>
          <p:spPr>
            <a:xfrm>
              <a:off x="840588" y="3077012"/>
              <a:ext cx="1315791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Behovshaver Kontrakt</a:t>
              </a:r>
            </a:p>
            <a:p>
              <a:pPr algn="ctr"/>
              <a:r>
                <a:rPr lang="nb-NO" sz="900">
                  <a:latin typeface="+mj-lt"/>
                </a:rPr>
                <a:t>Lønn og lønnsnær HR 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5BC5E563-A264-46BE-8870-286633CB3561}"/>
              </a:ext>
            </a:extLst>
          </p:cNvPr>
          <p:cNvSpPr txBox="1"/>
          <p:nvPr/>
        </p:nvSpPr>
        <p:spPr>
          <a:xfrm>
            <a:off x="9015269" y="5339275"/>
            <a:ext cx="3022525" cy="976908"/>
          </a:xfrm>
          <a:prstGeom prst="roundRect">
            <a:avLst>
              <a:gd name="adj" fmla="val 9954"/>
            </a:avLst>
          </a:prstGeom>
          <a:solidFill>
            <a:schemeClr val="bg1"/>
          </a:solidFill>
          <a:ln w="19050">
            <a:solidFill>
              <a:srgbClr val="01509E"/>
            </a:solidFill>
          </a:ln>
        </p:spPr>
        <p:txBody>
          <a:bodyPr wrap="square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 i="1"/>
              <a:t>Rollekartet omfatter BOTT-roller som skal organiseres på fakultets- og instituttnivå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 i="1"/>
              <a:t>De «grå» rollene er viktige å være klar over, men er ikke nødvendige å kartlegge i denne fasen. Det finnes også andre BOTT-roller som ikke omfattes av denne kartleggingen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881F790-7439-4B15-A56B-895086956DFC}"/>
              </a:ext>
            </a:extLst>
          </p:cNvPr>
          <p:cNvGrpSpPr/>
          <p:nvPr/>
        </p:nvGrpSpPr>
        <p:grpSpPr>
          <a:xfrm>
            <a:off x="5202270" y="2141325"/>
            <a:ext cx="1447370" cy="931934"/>
            <a:chOff x="1118789" y="3739589"/>
            <a:chExt cx="1592107" cy="1025129"/>
          </a:xfrm>
        </p:grpSpPr>
        <p:sp>
          <p:nvSpPr>
            <p:cNvPr id="108" name="Freeform 747">
              <a:extLst>
                <a:ext uri="{FF2B5EF4-FFF2-40B4-BE49-F238E27FC236}">
                  <a16:creationId xmlns:a16="http://schemas.microsoft.com/office/drawing/2014/main" id="{D3722324-161A-4447-A564-3AD6DA6E7A5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4010" y="373958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A6CAFB69-D14D-412B-A51C-48FB3AC29C1B}"/>
                </a:ext>
              </a:extLst>
            </p:cNvPr>
            <p:cNvSpPr txBox="1"/>
            <p:nvPr/>
          </p:nvSpPr>
          <p:spPr>
            <a:xfrm>
              <a:off x="1118789" y="4206104"/>
              <a:ext cx="1592107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Prosjekteier</a:t>
              </a:r>
            </a:p>
            <a:p>
              <a:pPr algn="ctr"/>
              <a:r>
                <a:rPr lang="nb-NO" sz="900"/>
                <a:t>Prosjektidé til avslutning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</a:t>
              </a:r>
              <a:endParaRPr lang="nb-NO" sz="900" i="1">
                <a:latin typeface="+mj-lt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43A0F99-2BCA-471F-A01D-41514F8466FF}"/>
              </a:ext>
            </a:extLst>
          </p:cNvPr>
          <p:cNvGrpSpPr/>
          <p:nvPr/>
        </p:nvGrpSpPr>
        <p:grpSpPr>
          <a:xfrm>
            <a:off x="9065094" y="5368039"/>
            <a:ext cx="177991" cy="177991"/>
            <a:chOff x="8713276" y="5287149"/>
            <a:chExt cx="161810" cy="16181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5C7106-C750-42BD-ADF4-08C2888CE536}"/>
                </a:ext>
              </a:extLst>
            </p:cNvPr>
            <p:cNvSpPr/>
            <p:nvPr/>
          </p:nvSpPr>
          <p:spPr bwMode="auto">
            <a:xfrm>
              <a:off x="8722181" y="5296355"/>
              <a:ext cx="144000" cy="1433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446" tIns="60723" rIns="121446" bIns="60723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nb-NO" sz="319"/>
            </a:p>
          </p:txBody>
        </p:sp>
        <p:sp>
          <p:nvSpPr>
            <p:cNvPr id="113" name="Freeform 747">
              <a:extLst>
                <a:ext uri="{FF2B5EF4-FFF2-40B4-BE49-F238E27FC236}">
                  <a16:creationId xmlns:a16="http://schemas.microsoft.com/office/drawing/2014/main" id="{3A06B076-82E8-42E3-B068-DFBC5ABC018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13276" y="5287149"/>
              <a:ext cx="161810" cy="161810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E411AA9-CB85-4350-8F25-2A7435851DB7}"/>
              </a:ext>
            </a:extLst>
          </p:cNvPr>
          <p:cNvGrpSpPr/>
          <p:nvPr/>
        </p:nvGrpSpPr>
        <p:grpSpPr>
          <a:xfrm>
            <a:off x="9065094" y="5665142"/>
            <a:ext cx="177991" cy="177991"/>
            <a:chOff x="8713276" y="5287149"/>
            <a:chExt cx="161810" cy="16181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9E765EB2-0149-4144-85CA-41966594CDD9}"/>
                </a:ext>
              </a:extLst>
            </p:cNvPr>
            <p:cNvSpPr/>
            <p:nvPr/>
          </p:nvSpPr>
          <p:spPr bwMode="auto">
            <a:xfrm>
              <a:off x="8722181" y="5296355"/>
              <a:ext cx="144000" cy="1433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446" tIns="60723" rIns="121446" bIns="60723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nb-NO" sz="319"/>
            </a:p>
          </p:txBody>
        </p:sp>
        <p:sp>
          <p:nvSpPr>
            <p:cNvPr id="117" name="Freeform 747">
              <a:extLst>
                <a:ext uri="{FF2B5EF4-FFF2-40B4-BE49-F238E27FC236}">
                  <a16:creationId xmlns:a16="http://schemas.microsoft.com/office/drawing/2014/main" id="{9FDBD294-D4E7-44A3-A568-ECDE5F7B466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13276" y="5287149"/>
              <a:ext cx="161810" cy="161810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27E008BD-F14B-4DD3-9355-E78621484FBC}"/>
              </a:ext>
            </a:extLst>
          </p:cNvPr>
          <p:cNvGrpSpPr/>
          <p:nvPr/>
        </p:nvGrpSpPr>
        <p:grpSpPr>
          <a:xfrm>
            <a:off x="2905927" y="3082368"/>
            <a:ext cx="1196174" cy="931933"/>
            <a:chOff x="840588" y="2610499"/>
            <a:chExt cx="1315791" cy="1025127"/>
          </a:xfrm>
        </p:grpSpPr>
        <p:sp>
          <p:nvSpPr>
            <p:cNvPr id="95" name="Freeform 747">
              <a:extLst>
                <a:ext uri="{FF2B5EF4-FFF2-40B4-BE49-F238E27FC236}">
                  <a16:creationId xmlns:a16="http://schemas.microsoft.com/office/drawing/2014/main" id="{F64AFA7C-398C-4E78-B7C6-C949E556FE0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67652" y="2610499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0" tIns="60723" rIns="0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00">
                <a:latin typeface="+mj-lt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19D84CA-3C8F-4B51-B590-D44B39A74C6B}"/>
                </a:ext>
              </a:extLst>
            </p:cNvPr>
            <p:cNvSpPr txBox="1"/>
            <p:nvPr/>
          </p:nvSpPr>
          <p:spPr>
            <a:xfrm>
              <a:off x="840588" y="3077012"/>
              <a:ext cx="1315791" cy="5586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nb-NO" sz="900" b="1">
                  <a:latin typeface="+mj-lt"/>
                </a:rPr>
                <a:t>Lesetilgang SAP</a:t>
              </a:r>
            </a:p>
            <a:p>
              <a:pPr algn="ctr"/>
              <a:r>
                <a:rPr lang="nb-NO" sz="900">
                  <a:latin typeface="+mj-lt"/>
                </a:rPr>
                <a:t>Lønn og lønnsnær HR </a:t>
              </a:r>
              <a:br>
                <a:rPr lang="nb-NO" sz="900">
                  <a:latin typeface="+mj-lt"/>
                </a:rPr>
              </a:br>
              <a:r>
                <a:rPr lang="nb-NO" sz="900" i="1">
                  <a:latin typeface="+mj-lt"/>
                </a:rPr>
                <a:t>Enhet </a:t>
              </a:r>
              <a:r>
                <a:rPr lang="nb-NO" sz="900" i="1" err="1">
                  <a:latin typeface="+mj-lt"/>
                </a:rPr>
                <a:t>n.n.</a:t>
              </a:r>
              <a:endParaRPr lang="nb-NO" sz="900" i="1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72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D6F7DE6-9CB1-4E8E-BA86-B224B74AF0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DD6F7DE6-9CB1-4E8E-BA86-B224B74AF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Tabell 20">
            <a:extLst>
              <a:ext uri="{FF2B5EF4-FFF2-40B4-BE49-F238E27FC236}">
                <a16:creationId xmlns:a16="http://schemas.microsoft.com/office/drawing/2014/main" id="{EEE2F43F-C659-4818-B390-420DEEEDB756}"/>
              </a:ext>
            </a:extLst>
          </p:cNvPr>
          <p:cNvGraphicFramePr>
            <a:graphicFrameLocks noGrp="1"/>
          </p:cNvGraphicFramePr>
          <p:nvPr/>
        </p:nvGraphicFramePr>
        <p:xfrm>
          <a:off x="1098298" y="1082040"/>
          <a:ext cx="10850795" cy="23876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412">
                  <a:extLst>
                    <a:ext uri="{9D8B030D-6E8A-4147-A177-3AD203B41FA5}">
                      <a16:colId xmlns:a16="http://schemas.microsoft.com/office/drawing/2014/main" val="910853908"/>
                    </a:ext>
                  </a:extLst>
                </a:gridCol>
                <a:gridCol w="8641383">
                  <a:extLst>
                    <a:ext uri="{9D8B030D-6E8A-4147-A177-3AD203B41FA5}">
                      <a16:colId xmlns:a16="http://schemas.microsoft.com/office/drawing/2014/main" val="4092503040"/>
                    </a:ext>
                  </a:extLst>
                </a:gridCol>
              </a:tblGrid>
              <a:tr h="22970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600"/>
                        <a:t>Rolle</a:t>
                      </a:r>
                    </a:p>
                  </a:txBody>
                  <a:tcPr>
                    <a:solidFill>
                      <a:srgbClr val="01509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Kommentar</a:t>
                      </a:r>
                    </a:p>
                  </a:txBody>
                  <a:tcP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937688"/>
                  </a:ext>
                </a:extLst>
              </a:tr>
              <a:tr h="68081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200"/>
                        <a:t>Personal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Leder for en enhet (følger dagens organisering)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Rollen kan ikke delegeres (stedfortrederrollen kan eventuelt benyttes)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Rollen inngår </a:t>
                      </a:r>
                      <a:r>
                        <a:rPr lang="nb-NO" sz="1200"/>
                        <a:t>som godkjenner i HR-flyter i hovedprosessen «Lønn og Lønnsnær HR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5611158"/>
                  </a:ext>
                </a:extLst>
              </a:tr>
              <a:tr h="68081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200"/>
                        <a:t>Kostnads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Med BOTT kommer det en egen flyt for utgifter tilknyttet en direkte kostnad (for eksempel reise eller </a:t>
                      </a:r>
                      <a:r>
                        <a:rPr lang="nb-NO" sz="1200" err="1"/>
                        <a:t>utgiftsrefusjon</a:t>
                      </a:r>
                      <a:r>
                        <a:rPr lang="nb-NO" sz="1200"/>
                        <a:t>) som går via en Kostnadsgodkjenner. 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/>
                        <a:t>Kostnadsgodkjenner vil ikke ha tilgang til personaldata i lønnssystemet (sykemeldinger, fravær, etc.)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Rollen innehas av ansatte med delegert BDM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Kostnadsgodkjenner inngår i alle hovedprosessen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Bør ikke kombineres med Innkjøper og Fagrekvirent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i="0" u="sng"/>
                        <a:t>Anbefaling</a:t>
                      </a:r>
                      <a:r>
                        <a:rPr lang="nb-NO" sz="1200" i="0"/>
                        <a:t>: Antall medarbeidere under Kostnadsgodkjenner ikke bør overskride 40-50 (DFØ anbefaler ca. 3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2508773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9BC2317-BB1A-40F1-87F0-1A6CA14FEEC9}"/>
              </a:ext>
            </a:extLst>
          </p:cNvPr>
          <p:cNvGrpSpPr/>
          <p:nvPr/>
        </p:nvGrpSpPr>
        <p:grpSpPr>
          <a:xfrm>
            <a:off x="1838732" y="257653"/>
            <a:ext cx="6328677" cy="170259"/>
            <a:chOff x="2190685" y="193853"/>
            <a:chExt cx="6328677" cy="17025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E77E4B3-DD7B-4606-923C-5E6C3CFDD4B9}"/>
                </a:ext>
              </a:extLst>
            </p:cNvPr>
            <p:cNvSpPr txBox="1"/>
            <p:nvPr/>
          </p:nvSpPr>
          <p:spPr>
            <a:xfrm>
              <a:off x="3182203" y="193853"/>
              <a:ext cx="119617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Lønn og Lønnsnær HR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60BAA2C-0CA5-4E5F-9501-C2905BEDD65A}"/>
                </a:ext>
              </a:extLst>
            </p:cNvPr>
            <p:cNvSpPr txBox="1"/>
            <p:nvPr/>
          </p:nvSpPr>
          <p:spPr>
            <a:xfrm>
              <a:off x="4477029" y="193853"/>
              <a:ext cx="98857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Behov til Betaling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C878FA0-EF94-47DB-8DD2-50BAB2A7C93D}"/>
                </a:ext>
              </a:extLst>
            </p:cNvPr>
            <p:cNvSpPr txBox="1"/>
            <p:nvPr/>
          </p:nvSpPr>
          <p:spPr>
            <a:xfrm>
              <a:off x="5552978" y="193853"/>
              <a:ext cx="1447370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Prosjektidé til avslutning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551BB75-BC48-4F6C-8547-39522CAA2DD5}"/>
                </a:ext>
              </a:extLst>
            </p:cNvPr>
            <p:cNvSpPr txBox="1"/>
            <p:nvPr/>
          </p:nvSpPr>
          <p:spPr>
            <a:xfrm>
              <a:off x="2190685" y="193853"/>
              <a:ext cx="898704" cy="170259"/>
            </a:xfrm>
            <a:prstGeom prst="roundRect">
              <a:avLst/>
            </a:prstGeom>
            <a:solidFill>
              <a:srgbClr val="01509D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 b="1">
                  <a:solidFill>
                    <a:schemeClr val="bg1"/>
                  </a:solidFill>
                  <a:latin typeface="+mj-lt"/>
                </a:rPr>
                <a:t>Lederroller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9459D79-3BB0-42DB-8EC9-99EE8A99A4F9}"/>
                </a:ext>
              </a:extLst>
            </p:cNvPr>
            <p:cNvSpPr txBox="1"/>
            <p:nvPr/>
          </p:nvSpPr>
          <p:spPr>
            <a:xfrm>
              <a:off x="7071992" y="193853"/>
              <a:ext cx="1447370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Øvrige BOTT-prosesser</a:t>
              </a:r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7E950E2-F9CE-412E-9589-B93EABE4E7D3}"/>
              </a:ext>
            </a:extLst>
          </p:cNvPr>
          <p:cNvSpPr/>
          <p:nvPr/>
        </p:nvSpPr>
        <p:spPr bwMode="auto">
          <a:xfrm>
            <a:off x="1716215" y="6140066"/>
            <a:ext cx="9864360" cy="290945"/>
          </a:xfrm>
          <a:prstGeom prst="roundRect">
            <a:avLst/>
          </a:prstGeom>
          <a:solidFill>
            <a:srgbClr val="01509D"/>
          </a:solidFill>
          <a:ln>
            <a:noFill/>
          </a:ln>
        </p:spPr>
        <p:txBody>
          <a:bodyPr vert="horz" wrap="square" lIns="121446" tIns="60723" rIns="121446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400" b="1">
                <a:solidFill>
                  <a:schemeClr val="bg1"/>
                </a:solidFill>
              </a:rPr>
              <a:t>NB! </a:t>
            </a:r>
            <a:r>
              <a:rPr lang="nb-NO" sz="1400">
                <a:solidFill>
                  <a:schemeClr val="bg1"/>
                </a:solidFill>
              </a:rPr>
              <a:t>For begge disse rollene ønsker vi antall medarbeidere under den enkelte leder (fylles inn i kommentarfeltet i Excel-malen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894C34-8D09-40A2-89F9-25EA1CEDDCDE}"/>
              </a:ext>
            </a:extLst>
          </p:cNvPr>
          <p:cNvSpPr/>
          <p:nvPr/>
        </p:nvSpPr>
        <p:spPr>
          <a:xfrm>
            <a:off x="1478867" y="3830915"/>
            <a:ext cx="35051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nb-NO" sz="1200"/>
              <a:t>Leder er Personalgodkjenner og Kostnadsgodkjenne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200"/>
              <a:t>Kostnadsgodkjenner-rollen kan delegere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200"/>
              <a:t>Personalgodkjenner-rollen kan ikke delegeres, men Stedfortreder</a:t>
            </a:r>
            <a:r>
              <a:rPr lang="nb-NO" sz="1200" b="1"/>
              <a:t> </a:t>
            </a:r>
            <a:r>
              <a:rPr lang="nb-NO" sz="1200"/>
              <a:t>kan eventuelt benyttes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96FC349-D638-4490-8876-022500557A14}"/>
              </a:ext>
            </a:extLst>
          </p:cNvPr>
          <p:cNvGrpSpPr/>
          <p:nvPr/>
        </p:nvGrpSpPr>
        <p:grpSpPr>
          <a:xfrm>
            <a:off x="4514820" y="3797746"/>
            <a:ext cx="5656420" cy="1812534"/>
            <a:chOff x="3232426" y="4484893"/>
            <a:chExt cx="5656420" cy="181253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A4BBD8-4A68-4851-A3E6-661436C5EFD7}"/>
                </a:ext>
              </a:extLst>
            </p:cNvPr>
            <p:cNvGrpSpPr/>
            <p:nvPr/>
          </p:nvGrpSpPr>
          <p:grpSpPr>
            <a:xfrm>
              <a:off x="3232426" y="5497066"/>
              <a:ext cx="1953995" cy="800361"/>
              <a:chOff x="4208804" y="1930866"/>
              <a:chExt cx="1776359" cy="727601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45BF43FD-5EF7-485D-982C-D030FC26EBC4}"/>
                  </a:ext>
                </a:extLst>
              </p:cNvPr>
              <p:cNvSpPr txBox="1"/>
              <p:nvPr/>
            </p:nvSpPr>
            <p:spPr>
              <a:xfrm>
                <a:off x="4208804" y="2406650"/>
                <a:ext cx="1776359" cy="2518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1200">
                    <a:latin typeface="+mj-lt"/>
                  </a:rPr>
                  <a:t>Kostnadsgodkjenner</a:t>
                </a:r>
              </a:p>
            </p:txBody>
          </p:sp>
          <p:sp>
            <p:nvSpPr>
              <p:cNvPr id="32" name="Freeform 747">
                <a:extLst>
                  <a:ext uri="{FF2B5EF4-FFF2-40B4-BE49-F238E27FC236}">
                    <a16:creationId xmlns:a16="http://schemas.microsoft.com/office/drawing/2014/main" id="{2FDB8BD4-3B15-4E55-A00B-581F6DB1341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866150" y="1930866"/>
                <a:ext cx="461665" cy="461665"/>
              </a:xfrm>
              <a:custGeom>
                <a:avLst/>
                <a:gdLst>
                  <a:gd name="T0" fmla="*/ 307 w 512"/>
                  <a:gd name="T1" fmla="*/ 137 h 512"/>
                  <a:gd name="T2" fmla="*/ 308 w 512"/>
                  <a:gd name="T3" fmla="*/ 137 h 512"/>
                  <a:gd name="T4" fmla="*/ 292 w 512"/>
                  <a:gd name="T5" fmla="*/ 149 h 512"/>
                  <a:gd name="T6" fmla="*/ 285 w 512"/>
                  <a:gd name="T7" fmla="*/ 141 h 512"/>
                  <a:gd name="T8" fmla="*/ 269 w 512"/>
                  <a:gd name="T9" fmla="*/ 141 h 512"/>
                  <a:gd name="T10" fmla="*/ 261 w 512"/>
                  <a:gd name="T11" fmla="*/ 150 h 512"/>
                  <a:gd name="T12" fmla="*/ 204 w 512"/>
                  <a:gd name="T13" fmla="*/ 137 h 512"/>
                  <a:gd name="T14" fmla="*/ 204 w 512"/>
                  <a:gd name="T15" fmla="*/ 137 h 512"/>
                  <a:gd name="T16" fmla="*/ 256 w 512"/>
                  <a:gd name="T17" fmla="*/ 117 h 512"/>
                  <a:gd name="T18" fmla="*/ 307 w 512"/>
                  <a:gd name="T19" fmla="*/ 137 h 512"/>
                  <a:gd name="T20" fmla="*/ 512 w 512"/>
                  <a:gd name="T21" fmla="*/ 256 h 512"/>
                  <a:gd name="T22" fmla="*/ 256 w 512"/>
                  <a:gd name="T23" fmla="*/ 512 h 512"/>
                  <a:gd name="T24" fmla="*/ 0 w 512"/>
                  <a:gd name="T25" fmla="*/ 256 h 512"/>
                  <a:gd name="T26" fmla="*/ 256 w 512"/>
                  <a:gd name="T27" fmla="*/ 0 h 512"/>
                  <a:gd name="T28" fmla="*/ 512 w 512"/>
                  <a:gd name="T29" fmla="*/ 256 h 512"/>
                  <a:gd name="T30" fmla="*/ 389 w 512"/>
                  <a:gd name="T31" fmla="*/ 353 h 512"/>
                  <a:gd name="T32" fmla="*/ 343 w 512"/>
                  <a:gd name="T33" fmla="*/ 342 h 512"/>
                  <a:gd name="T34" fmla="*/ 319 w 512"/>
                  <a:gd name="T35" fmla="*/ 338 h 512"/>
                  <a:gd name="T36" fmla="*/ 302 w 512"/>
                  <a:gd name="T37" fmla="*/ 290 h 512"/>
                  <a:gd name="T38" fmla="*/ 332 w 512"/>
                  <a:gd name="T39" fmla="*/ 222 h 512"/>
                  <a:gd name="T40" fmla="*/ 324 w 512"/>
                  <a:gd name="T41" fmla="*/ 124 h 512"/>
                  <a:gd name="T42" fmla="*/ 256 w 512"/>
                  <a:gd name="T43" fmla="*/ 96 h 512"/>
                  <a:gd name="T44" fmla="*/ 187 w 512"/>
                  <a:gd name="T45" fmla="*/ 124 h 512"/>
                  <a:gd name="T46" fmla="*/ 180 w 512"/>
                  <a:gd name="T47" fmla="*/ 222 h 512"/>
                  <a:gd name="T48" fmla="*/ 209 w 512"/>
                  <a:gd name="T49" fmla="*/ 289 h 512"/>
                  <a:gd name="T50" fmla="*/ 192 w 512"/>
                  <a:gd name="T51" fmla="*/ 338 h 512"/>
                  <a:gd name="T52" fmla="*/ 168 w 512"/>
                  <a:gd name="T53" fmla="*/ 342 h 512"/>
                  <a:gd name="T54" fmla="*/ 122 w 512"/>
                  <a:gd name="T55" fmla="*/ 353 h 512"/>
                  <a:gd name="T56" fmla="*/ 118 w 512"/>
                  <a:gd name="T57" fmla="*/ 368 h 512"/>
                  <a:gd name="T58" fmla="*/ 133 w 512"/>
                  <a:gd name="T59" fmla="*/ 372 h 512"/>
                  <a:gd name="T60" fmla="*/ 171 w 512"/>
                  <a:gd name="T61" fmla="*/ 363 h 512"/>
                  <a:gd name="T62" fmla="*/ 202 w 512"/>
                  <a:gd name="T63" fmla="*/ 357 h 512"/>
                  <a:gd name="T64" fmla="*/ 228 w 512"/>
                  <a:gd name="T65" fmla="*/ 315 h 512"/>
                  <a:gd name="T66" fmla="*/ 227 w 512"/>
                  <a:gd name="T67" fmla="*/ 278 h 512"/>
                  <a:gd name="T68" fmla="*/ 200 w 512"/>
                  <a:gd name="T69" fmla="*/ 216 h 512"/>
                  <a:gd name="T70" fmla="*/ 195 w 512"/>
                  <a:gd name="T71" fmla="*/ 159 h 512"/>
                  <a:gd name="T72" fmla="*/ 240 w 512"/>
                  <a:gd name="T73" fmla="*/ 175 h 512"/>
                  <a:gd name="T74" fmla="*/ 270 w 512"/>
                  <a:gd name="T75" fmla="*/ 170 h 512"/>
                  <a:gd name="T76" fmla="*/ 274 w 512"/>
                  <a:gd name="T77" fmla="*/ 167 h 512"/>
                  <a:gd name="T78" fmla="*/ 277 w 512"/>
                  <a:gd name="T79" fmla="*/ 164 h 512"/>
                  <a:gd name="T80" fmla="*/ 280 w 512"/>
                  <a:gd name="T81" fmla="*/ 167 h 512"/>
                  <a:gd name="T82" fmla="*/ 287 w 512"/>
                  <a:gd name="T83" fmla="*/ 170 h 512"/>
                  <a:gd name="T84" fmla="*/ 316 w 512"/>
                  <a:gd name="T85" fmla="*/ 159 h 512"/>
                  <a:gd name="T86" fmla="*/ 311 w 512"/>
                  <a:gd name="T87" fmla="*/ 216 h 512"/>
                  <a:gd name="T88" fmla="*/ 285 w 512"/>
                  <a:gd name="T89" fmla="*/ 278 h 512"/>
                  <a:gd name="T90" fmla="*/ 284 w 512"/>
                  <a:gd name="T91" fmla="*/ 315 h 512"/>
                  <a:gd name="T92" fmla="*/ 309 w 512"/>
                  <a:gd name="T93" fmla="*/ 357 h 512"/>
                  <a:gd name="T94" fmla="*/ 341 w 512"/>
                  <a:gd name="T95" fmla="*/ 363 h 512"/>
                  <a:gd name="T96" fmla="*/ 378 w 512"/>
                  <a:gd name="T97" fmla="*/ 372 h 512"/>
                  <a:gd name="T98" fmla="*/ 384 w 512"/>
                  <a:gd name="T99" fmla="*/ 373 h 512"/>
                  <a:gd name="T100" fmla="*/ 393 w 512"/>
                  <a:gd name="T101" fmla="*/ 368 h 512"/>
                  <a:gd name="T102" fmla="*/ 389 w 512"/>
                  <a:gd name="T103" fmla="*/ 353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2" h="512">
                    <a:moveTo>
                      <a:pt x="307" y="137"/>
                    </a:moveTo>
                    <a:cubicBezTo>
                      <a:pt x="307" y="137"/>
                      <a:pt x="307" y="137"/>
                      <a:pt x="308" y="137"/>
                    </a:cubicBezTo>
                    <a:cubicBezTo>
                      <a:pt x="302" y="145"/>
                      <a:pt x="295" y="148"/>
                      <a:pt x="292" y="149"/>
                    </a:cubicBezTo>
                    <a:cubicBezTo>
                      <a:pt x="285" y="141"/>
                      <a:pt x="285" y="141"/>
                      <a:pt x="285" y="141"/>
                    </a:cubicBezTo>
                    <a:cubicBezTo>
                      <a:pt x="280" y="137"/>
                      <a:pt x="274" y="137"/>
                      <a:pt x="269" y="141"/>
                    </a:cubicBezTo>
                    <a:cubicBezTo>
                      <a:pt x="261" y="150"/>
                      <a:pt x="261" y="150"/>
                      <a:pt x="261" y="150"/>
                    </a:cubicBezTo>
                    <a:cubicBezTo>
                      <a:pt x="252" y="153"/>
                      <a:pt x="221" y="160"/>
                      <a:pt x="204" y="137"/>
                    </a:cubicBezTo>
                    <a:cubicBezTo>
                      <a:pt x="204" y="137"/>
                      <a:pt x="204" y="137"/>
                      <a:pt x="204" y="137"/>
                    </a:cubicBezTo>
                    <a:cubicBezTo>
                      <a:pt x="214" y="124"/>
                      <a:pt x="231" y="117"/>
                      <a:pt x="256" y="117"/>
                    </a:cubicBezTo>
                    <a:cubicBezTo>
                      <a:pt x="280" y="117"/>
                      <a:pt x="297" y="124"/>
                      <a:pt x="307" y="137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389" y="353"/>
                    </a:moveTo>
                    <a:cubicBezTo>
                      <a:pt x="375" y="345"/>
                      <a:pt x="358" y="344"/>
                      <a:pt x="343" y="342"/>
                    </a:cubicBezTo>
                    <a:cubicBezTo>
                      <a:pt x="333" y="341"/>
                      <a:pt x="323" y="340"/>
                      <a:pt x="319" y="338"/>
                    </a:cubicBezTo>
                    <a:cubicBezTo>
                      <a:pt x="308" y="332"/>
                      <a:pt x="299" y="297"/>
                      <a:pt x="302" y="290"/>
                    </a:cubicBezTo>
                    <a:cubicBezTo>
                      <a:pt x="315" y="272"/>
                      <a:pt x="327" y="240"/>
                      <a:pt x="332" y="222"/>
                    </a:cubicBezTo>
                    <a:cubicBezTo>
                      <a:pt x="338" y="198"/>
                      <a:pt x="347" y="154"/>
                      <a:pt x="324" y="124"/>
                    </a:cubicBezTo>
                    <a:cubicBezTo>
                      <a:pt x="310" y="105"/>
                      <a:pt x="287" y="96"/>
                      <a:pt x="256" y="96"/>
                    </a:cubicBezTo>
                    <a:cubicBezTo>
                      <a:pt x="224" y="96"/>
                      <a:pt x="201" y="105"/>
                      <a:pt x="187" y="124"/>
                    </a:cubicBezTo>
                    <a:cubicBezTo>
                      <a:pt x="165" y="154"/>
                      <a:pt x="173" y="198"/>
                      <a:pt x="180" y="222"/>
                    </a:cubicBezTo>
                    <a:cubicBezTo>
                      <a:pt x="185" y="240"/>
                      <a:pt x="197" y="272"/>
                      <a:pt x="209" y="289"/>
                    </a:cubicBezTo>
                    <a:cubicBezTo>
                      <a:pt x="212" y="297"/>
                      <a:pt x="203" y="332"/>
                      <a:pt x="192" y="338"/>
                    </a:cubicBezTo>
                    <a:cubicBezTo>
                      <a:pt x="188" y="340"/>
                      <a:pt x="178" y="341"/>
                      <a:pt x="168" y="342"/>
                    </a:cubicBezTo>
                    <a:cubicBezTo>
                      <a:pt x="153" y="344"/>
                      <a:pt x="136" y="345"/>
                      <a:pt x="122" y="353"/>
                    </a:cubicBezTo>
                    <a:cubicBezTo>
                      <a:pt x="117" y="356"/>
                      <a:pt x="115" y="362"/>
                      <a:pt x="118" y="368"/>
                    </a:cubicBezTo>
                    <a:cubicBezTo>
                      <a:pt x="121" y="373"/>
                      <a:pt x="128" y="375"/>
                      <a:pt x="133" y="372"/>
                    </a:cubicBezTo>
                    <a:cubicBezTo>
                      <a:pt x="143" y="366"/>
                      <a:pt x="158" y="365"/>
                      <a:pt x="171" y="363"/>
                    </a:cubicBezTo>
                    <a:cubicBezTo>
                      <a:pt x="183" y="362"/>
                      <a:pt x="194" y="361"/>
                      <a:pt x="202" y="357"/>
                    </a:cubicBezTo>
                    <a:cubicBezTo>
                      <a:pt x="218" y="348"/>
                      <a:pt x="225" y="325"/>
                      <a:pt x="228" y="315"/>
                    </a:cubicBezTo>
                    <a:cubicBezTo>
                      <a:pt x="230" y="306"/>
                      <a:pt x="233" y="288"/>
                      <a:pt x="227" y="278"/>
                    </a:cubicBezTo>
                    <a:cubicBezTo>
                      <a:pt x="216" y="263"/>
                      <a:pt x="205" y="233"/>
                      <a:pt x="200" y="216"/>
                    </a:cubicBezTo>
                    <a:cubicBezTo>
                      <a:pt x="197" y="205"/>
                      <a:pt x="191" y="180"/>
                      <a:pt x="195" y="159"/>
                    </a:cubicBezTo>
                    <a:cubicBezTo>
                      <a:pt x="209" y="171"/>
                      <a:pt x="225" y="175"/>
                      <a:pt x="240" y="175"/>
                    </a:cubicBezTo>
                    <a:cubicBezTo>
                      <a:pt x="252" y="175"/>
                      <a:pt x="263" y="172"/>
                      <a:pt x="270" y="170"/>
                    </a:cubicBezTo>
                    <a:cubicBezTo>
                      <a:pt x="271" y="169"/>
                      <a:pt x="273" y="168"/>
                      <a:pt x="274" y="167"/>
                    </a:cubicBezTo>
                    <a:cubicBezTo>
                      <a:pt x="277" y="164"/>
                      <a:pt x="277" y="164"/>
                      <a:pt x="277" y="164"/>
                    </a:cubicBezTo>
                    <a:cubicBezTo>
                      <a:pt x="280" y="167"/>
                      <a:pt x="280" y="167"/>
                      <a:pt x="280" y="167"/>
                    </a:cubicBezTo>
                    <a:cubicBezTo>
                      <a:pt x="282" y="169"/>
                      <a:pt x="284" y="170"/>
                      <a:pt x="287" y="170"/>
                    </a:cubicBezTo>
                    <a:cubicBezTo>
                      <a:pt x="288" y="170"/>
                      <a:pt x="302" y="171"/>
                      <a:pt x="316" y="159"/>
                    </a:cubicBezTo>
                    <a:cubicBezTo>
                      <a:pt x="320" y="180"/>
                      <a:pt x="314" y="205"/>
                      <a:pt x="311" y="216"/>
                    </a:cubicBezTo>
                    <a:cubicBezTo>
                      <a:pt x="306" y="233"/>
                      <a:pt x="295" y="263"/>
                      <a:pt x="285" y="278"/>
                    </a:cubicBezTo>
                    <a:cubicBezTo>
                      <a:pt x="278" y="288"/>
                      <a:pt x="281" y="306"/>
                      <a:pt x="284" y="315"/>
                    </a:cubicBezTo>
                    <a:cubicBezTo>
                      <a:pt x="286" y="325"/>
                      <a:pt x="293" y="348"/>
                      <a:pt x="309" y="357"/>
                    </a:cubicBezTo>
                    <a:cubicBezTo>
                      <a:pt x="317" y="361"/>
                      <a:pt x="328" y="362"/>
                      <a:pt x="341" y="363"/>
                    </a:cubicBezTo>
                    <a:cubicBezTo>
                      <a:pt x="354" y="365"/>
                      <a:pt x="369" y="366"/>
                      <a:pt x="378" y="372"/>
                    </a:cubicBezTo>
                    <a:cubicBezTo>
                      <a:pt x="380" y="373"/>
                      <a:pt x="382" y="373"/>
                      <a:pt x="384" y="373"/>
                    </a:cubicBezTo>
                    <a:cubicBezTo>
                      <a:pt x="387" y="373"/>
                      <a:pt x="391" y="371"/>
                      <a:pt x="393" y="368"/>
                    </a:cubicBezTo>
                    <a:cubicBezTo>
                      <a:pt x="396" y="362"/>
                      <a:pt x="394" y="356"/>
                      <a:pt x="389" y="353"/>
                    </a:cubicBezTo>
                    <a:close/>
                  </a:path>
                </a:pathLst>
              </a:custGeom>
              <a:solidFill>
                <a:srgbClr val="01509D"/>
              </a:solidFill>
              <a:ln>
                <a:noFill/>
              </a:ln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latin typeface="+mj-lt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36F4DAE-4E0A-4229-AFCB-27A74993EEBF}"/>
                </a:ext>
              </a:extLst>
            </p:cNvPr>
            <p:cNvGrpSpPr/>
            <p:nvPr/>
          </p:nvGrpSpPr>
          <p:grpSpPr>
            <a:xfrm>
              <a:off x="4800049" y="5497066"/>
              <a:ext cx="1953995" cy="800361"/>
              <a:chOff x="4208804" y="1930866"/>
              <a:chExt cx="1776359" cy="727601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7E0D48A9-1190-4635-A5F8-40AE77F599FE}"/>
                  </a:ext>
                </a:extLst>
              </p:cNvPr>
              <p:cNvSpPr txBox="1"/>
              <p:nvPr/>
            </p:nvSpPr>
            <p:spPr>
              <a:xfrm>
                <a:off x="4208804" y="2406650"/>
                <a:ext cx="1776359" cy="2518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1200">
                    <a:latin typeface="+mj-lt"/>
                  </a:rPr>
                  <a:t>Kostnadsgodkjenner</a:t>
                </a:r>
              </a:p>
            </p:txBody>
          </p:sp>
          <p:sp>
            <p:nvSpPr>
              <p:cNvPr id="36" name="Freeform 747">
                <a:extLst>
                  <a:ext uri="{FF2B5EF4-FFF2-40B4-BE49-F238E27FC236}">
                    <a16:creationId xmlns:a16="http://schemas.microsoft.com/office/drawing/2014/main" id="{0B0F0188-EA07-4522-8F50-F6C124EA356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866150" y="1930866"/>
                <a:ext cx="461665" cy="461665"/>
              </a:xfrm>
              <a:custGeom>
                <a:avLst/>
                <a:gdLst>
                  <a:gd name="T0" fmla="*/ 307 w 512"/>
                  <a:gd name="T1" fmla="*/ 137 h 512"/>
                  <a:gd name="T2" fmla="*/ 308 w 512"/>
                  <a:gd name="T3" fmla="*/ 137 h 512"/>
                  <a:gd name="T4" fmla="*/ 292 w 512"/>
                  <a:gd name="T5" fmla="*/ 149 h 512"/>
                  <a:gd name="T6" fmla="*/ 285 w 512"/>
                  <a:gd name="T7" fmla="*/ 141 h 512"/>
                  <a:gd name="T8" fmla="*/ 269 w 512"/>
                  <a:gd name="T9" fmla="*/ 141 h 512"/>
                  <a:gd name="T10" fmla="*/ 261 w 512"/>
                  <a:gd name="T11" fmla="*/ 150 h 512"/>
                  <a:gd name="T12" fmla="*/ 204 w 512"/>
                  <a:gd name="T13" fmla="*/ 137 h 512"/>
                  <a:gd name="T14" fmla="*/ 204 w 512"/>
                  <a:gd name="T15" fmla="*/ 137 h 512"/>
                  <a:gd name="T16" fmla="*/ 256 w 512"/>
                  <a:gd name="T17" fmla="*/ 117 h 512"/>
                  <a:gd name="T18" fmla="*/ 307 w 512"/>
                  <a:gd name="T19" fmla="*/ 137 h 512"/>
                  <a:gd name="T20" fmla="*/ 512 w 512"/>
                  <a:gd name="T21" fmla="*/ 256 h 512"/>
                  <a:gd name="T22" fmla="*/ 256 w 512"/>
                  <a:gd name="T23" fmla="*/ 512 h 512"/>
                  <a:gd name="T24" fmla="*/ 0 w 512"/>
                  <a:gd name="T25" fmla="*/ 256 h 512"/>
                  <a:gd name="T26" fmla="*/ 256 w 512"/>
                  <a:gd name="T27" fmla="*/ 0 h 512"/>
                  <a:gd name="T28" fmla="*/ 512 w 512"/>
                  <a:gd name="T29" fmla="*/ 256 h 512"/>
                  <a:gd name="T30" fmla="*/ 389 w 512"/>
                  <a:gd name="T31" fmla="*/ 353 h 512"/>
                  <a:gd name="T32" fmla="*/ 343 w 512"/>
                  <a:gd name="T33" fmla="*/ 342 h 512"/>
                  <a:gd name="T34" fmla="*/ 319 w 512"/>
                  <a:gd name="T35" fmla="*/ 338 h 512"/>
                  <a:gd name="T36" fmla="*/ 302 w 512"/>
                  <a:gd name="T37" fmla="*/ 290 h 512"/>
                  <a:gd name="T38" fmla="*/ 332 w 512"/>
                  <a:gd name="T39" fmla="*/ 222 h 512"/>
                  <a:gd name="T40" fmla="*/ 324 w 512"/>
                  <a:gd name="T41" fmla="*/ 124 h 512"/>
                  <a:gd name="T42" fmla="*/ 256 w 512"/>
                  <a:gd name="T43" fmla="*/ 96 h 512"/>
                  <a:gd name="T44" fmla="*/ 187 w 512"/>
                  <a:gd name="T45" fmla="*/ 124 h 512"/>
                  <a:gd name="T46" fmla="*/ 180 w 512"/>
                  <a:gd name="T47" fmla="*/ 222 h 512"/>
                  <a:gd name="T48" fmla="*/ 209 w 512"/>
                  <a:gd name="T49" fmla="*/ 289 h 512"/>
                  <a:gd name="T50" fmla="*/ 192 w 512"/>
                  <a:gd name="T51" fmla="*/ 338 h 512"/>
                  <a:gd name="T52" fmla="*/ 168 w 512"/>
                  <a:gd name="T53" fmla="*/ 342 h 512"/>
                  <a:gd name="T54" fmla="*/ 122 w 512"/>
                  <a:gd name="T55" fmla="*/ 353 h 512"/>
                  <a:gd name="T56" fmla="*/ 118 w 512"/>
                  <a:gd name="T57" fmla="*/ 368 h 512"/>
                  <a:gd name="T58" fmla="*/ 133 w 512"/>
                  <a:gd name="T59" fmla="*/ 372 h 512"/>
                  <a:gd name="T60" fmla="*/ 171 w 512"/>
                  <a:gd name="T61" fmla="*/ 363 h 512"/>
                  <a:gd name="T62" fmla="*/ 202 w 512"/>
                  <a:gd name="T63" fmla="*/ 357 h 512"/>
                  <a:gd name="T64" fmla="*/ 228 w 512"/>
                  <a:gd name="T65" fmla="*/ 315 h 512"/>
                  <a:gd name="T66" fmla="*/ 227 w 512"/>
                  <a:gd name="T67" fmla="*/ 278 h 512"/>
                  <a:gd name="T68" fmla="*/ 200 w 512"/>
                  <a:gd name="T69" fmla="*/ 216 h 512"/>
                  <a:gd name="T70" fmla="*/ 195 w 512"/>
                  <a:gd name="T71" fmla="*/ 159 h 512"/>
                  <a:gd name="T72" fmla="*/ 240 w 512"/>
                  <a:gd name="T73" fmla="*/ 175 h 512"/>
                  <a:gd name="T74" fmla="*/ 270 w 512"/>
                  <a:gd name="T75" fmla="*/ 170 h 512"/>
                  <a:gd name="T76" fmla="*/ 274 w 512"/>
                  <a:gd name="T77" fmla="*/ 167 h 512"/>
                  <a:gd name="T78" fmla="*/ 277 w 512"/>
                  <a:gd name="T79" fmla="*/ 164 h 512"/>
                  <a:gd name="T80" fmla="*/ 280 w 512"/>
                  <a:gd name="T81" fmla="*/ 167 h 512"/>
                  <a:gd name="T82" fmla="*/ 287 w 512"/>
                  <a:gd name="T83" fmla="*/ 170 h 512"/>
                  <a:gd name="T84" fmla="*/ 316 w 512"/>
                  <a:gd name="T85" fmla="*/ 159 h 512"/>
                  <a:gd name="T86" fmla="*/ 311 w 512"/>
                  <a:gd name="T87" fmla="*/ 216 h 512"/>
                  <a:gd name="T88" fmla="*/ 285 w 512"/>
                  <a:gd name="T89" fmla="*/ 278 h 512"/>
                  <a:gd name="T90" fmla="*/ 284 w 512"/>
                  <a:gd name="T91" fmla="*/ 315 h 512"/>
                  <a:gd name="T92" fmla="*/ 309 w 512"/>
                  <a:gd name="T93" fmla="*/ 357 h 512"/>
                  <a:gd name="T94" fmla="*/ 341 w 512"/>
                  <a:gd name="T95" fmla="*/ 363 h 512"/>
                  <a:gd name="T96" fmla="*/ 378 w 512"/>
                  <a:gd name="T97" fmla="*/ 372 h 512"/>
                  <a:gd name="T98" fmla="*/ 384 w 512"/>
                  <a:gd name="T99" fmla="*/ 373 h 512"/>
                  <a:gd name="T100" fmla="*/ 393 w 512"/>
                  <a:gd name="T101" fmla="*/ 368 h 512"/>
                  <a:gd name="T102" fmla="*/ 389 w 512"/>
                  <a:gd name="T103" fmla="*/ 353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2" h="512">
                    <a:moveTo>
                      <a:pt x="307" y="137"/>
                    </a:moveTo>
                    <a:cubicBezTo>
                      <a:pt x="307" y="137"/>
                      <a:pt x="307" y="137"/>
                      <a:pt x="308" y="137"/>
                    </a:cubicBezTo>
                    <a:cubicBezTo>
                      <a:pt x="302" y="145"/>
                      <a:pt x="295" y="148"/>
                      <a:pt x="292" y="149"/>
                    </a:cubicBezTo>
                    <a:cubicBezTo>
                      <a:pt x="285" y="141"/>
                      <a:pt x="285" y="141"/>
                      <a:pt x="285" y="141"/>
                    </a:cubicBezTo>
                    <a:cubicBezTo>
                      <a:pt x="280" y="137"/>
                      <a:pt x="274" y="137"/>
                      <a:pt x="269" y="141"/>
                    </a:cubicBezTo>
                    <a:cubicBezTo>
                      <a:pt x="261" y="150"/>
                      <a:pt x="261" y="150"/>
                      <a:pt x="261" y="150"/>
                    </a:cubicBezTo>
                    <a:cubicBezTo>
                      <a:pt x="252" y="153"/>
                      <a:pt x="221" y="160"/>
                      <a:pt x="204" y="137"/>
                    </a:cubicBezTo>
                    <a:cubicBezTo>
                      <a:pt x="204" y="137"/>
                      <a:pt x="204" y="137"/>
                      <a:pt x="204" y="137"/>
                    </a:cubicBezTo>
                    <a:cubicBezTo>
                      <a:pt x="214" y="124"/>
                      <a:pt x="231" y="117"/>
                      <a:pt x="256" y="117"/>
                    </a:cubicBezTo>
                    <a:cubicBezTo>
                      <a:pt x="280" y="117"/>
                      <a:pt x="297" y="124"/>
                      <a:pt x="307" y="137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389" y="353"/>
                    </a:moveTo>
                    <a:cubicBezTo>
                      <a:pt x="375" y="345"/>
                      <a:pt x="358" y="344"/>
                      <a:pt x="343" y="342"/>
                    </a:cubicBezTo>
                    <a:cubicBezTo>
                      <a:pt x="333" y="341"/>
                      <a:pt x="323" y="340"/>
                      <a:pt x="319" y="338"/>
                    </a:cubicBezTo>
                    <a:cubicBezTo>
                      <a:pt x="308" y="332"/>
                      <a:pt x="299" y="297"/>
                      <a:pt x="302" y="290"/>
                    </a:cubicBezTo>
                    <a:cubicBezTo>
                      <a:pt x="315" y="272"/>
                      <a:pt x="327" y="240"/>
                      <a:pt x="332" y="222"/>
                    </a:cubicBezTo>
                    <a:cubicBezTo>
                      <a:pt x="338" y="198"/>
                      <a:pt x="347" y="154"/>
                      <a:pt x="324" y="124"/>
                    </a:cubicBezTo>
                    <a:cubicBezTo>
                      <a:pt x="310" y="105"/>
                      <a:pt x="287" y="96"/>
                      <a:pt x="256" y="96"/>
                    </a:cubicBezTo>
                    <a:cubicBezTo>
                      <a:pt x="224" y="96"/>
                      <a:pt x="201" y="105"/>
                      <a:pt x="187" y="124"/>
                    </a:cubicBezTo>
                    <a:cubicBezTo>
                      <a:pt x="165" y="154"/>
                      <a:pt x="173" y="198"/>
                      <a:pt x="180" y="222"/>
                    </a:cubicBezTo>
                    <a:cubicBezTo>
                      <a:pt x="185" y="240"/>
                      <a:pt x="197" y="272"/>
                      <a:pt x="209" y="289"/>
                    </a:cubicBezTo>
                    <a:cubicBezTo>
                      <a:pt x="212" y="297"/>
                      <a:pt x="203" y="332"/>
                      <a:pt x="192" y="338"/>
                    </a:cubicBezTo>
                    <a:cubicBezTo>
                      <a:pt x="188" y="340"/>
                      <a:pt x="178" y="341"/>
                      <a:pt x="168" y="342"/>
                    </a:cubicBezTo>
                    <a:cubicBezTo>
                      <a:pt x="153" y="344"/>
                      <a:pt x="136" y="345"/>
                      <a:pt x="122" y="353"/>
                    </a:cubicBezTo>
                    <a:cubicBezTo>
                      <a:pt x="117" y="356"/>
                      <a:pt x="115" y="362"/>
                      <a:pt x="118" y="368"/>
                    </a:cubicBezTo>
                    <a:cubicBezTo>
                      <a:pt x="121" y="373"/>
                      <a:pt x="128" y="375"/>
                      <a:pt x="133" y="372"/>
                    </a:cubicBezTo>
                    <a:cubicBezTo>
                      <a:pt x="143" y="366"/>
                      <a:pt x="158" y="365"/>
                      <a:pt x="171" y="363"/>
                    </a:cubicBezTo>
                    <a:cubicBezTo>
                      <a:pt x="183" y="362"/>
                      <a:pt x="194" y="361"/>
                      <a:pt x="202" y="357"/>
                    </a:cubicBezTo>
                    <a:cubicBezTo>
                      <a:pt x="218" y="348"/>
                      <a:pt x="225" y="325"/>
                      <a:pt x="228" y="315"/>
                    </a:cubicBezTo>
                    <a:cubicBezTo>
                      <a:pt x="230" y="306"/>
                      <a:pt x="233" y="288"/>
                      <a:pt x="227" y="278"/>
                    </a:cubicBezTo>
                    <a:cubicBezTo>
                      <a:pt x="216" y="263"/>
                      <a:pt x="205" y="233"/>
                      <a:pt x="200" y="216"/>
                    </a:cubicBezTo>
                    <a:cubicBezTo>
                      <a:pt x="197" y="205"/>
                      <a:pt x="191" y="180"/>
                      <a:pt x="195" y="159"/>
                    </a:cubicBezTo>
                    <a:cubicBezTo>
                      <a:pt x="209" y="171"/>
                      <a:pt x="225" y="175"/>
                      <a:pt x="240" y="175"/>
                    </a:cubicBezTo>
                    <a:cubicBezTo>
                      <a:pt x="252" y="175"/>
                      <a:pt x="263" y="172"/>
                      <a:pt x="270" y="170"/>
                    </a:cubicBezTo>
                    <a:cubicBezTo>
                      <a:pt x="271" y="169"/>
                      <a:pt x="273" y="168"/>
                      <a:pt x="274" y="167"/>
                    </a:cubicBezTo>
                    <a:cubicBezTo>
                      <a:pt x="277" y="164"/>
                      <a:pt x="277" y="164"/>
                      <a:pt x="277" y="164"/>
                    </a:cubicBezTo>
                    <a:cubicBezTo>
                      <a:pt x="280" y="167"/>
                      <a:pt x="280" y="167"/>
                      <a:pt x="280" y="167"/>
                    </a:cubicBezTo>
                    <a:cubicBezTo>
                      <a:pt x="282" y="169"/>
                      <a:pt x="284" y="170"/>
                      <a:pt x="287" y="170"/>
                    </a:cubicBezTo>
                    <a:cubicBezTo>
                      <a:pt x="288" y="170"/>
                      <a:pt x="302" y="171"/>
                      <a:pt x="316" y="159"/>
                    </a:cubicBezTo>
                    <a:cubicBezTo>
                      <a:pt x="320" y="180"/>
                      <a:pt x="314" y="205"/>
                      <a:pt x="311" y="216"/>
                    </a:cubicBezTo>
                    <a:cubicBezTo>
                      <a:pt x="306" y="233"/>
                      <a:pt x="295" y="263"/>
                      <a:pt x="285" y="278"/>
                    </a:cubicBezTo>
                    <a:cubicBezTo>
                      <a:pt x="278" y="288"/>
                      <a:pt x="281" y="306"/>
                      <a:pt x="284" y="315"/>
                    </a:cubicBezTo>
                    <a:cubicBezTo>
                      <a:pt x="286" y="325"/>
                      <a:pt x="293" y="348"/>
                      <a:pt x="309" y="357"/>
                    </a:cubicBezTo>
                    <a:cubicBezTo>
                      <a:pt x="317" y="361"/>
                      <a:pt x="328" y="362"/>
                      <a:pt x="341" y="363"/>
                    </a:cubicBezTo>
                    <a:cubicBezTo>
                      <a:pt x="354" y="365"/>
                      <a:pt x="369" y="366"/>
                      <a:pt x="378" y="372"/>
                    </a:cubicBezTo>
                    <a:cubicBezTo>
                      <a:pt x="380" y="373"/>
                      <a:pt x="382" y="373"/>
                      <a:pt x="384" y="373"/>
                    </a:cubicBezTo>
                    <a:cubicBezTo>
                      <a:pt x="387" y="373"/>
                      <a:pt x="391" y="371"/>
                      <a:pt x="393" y="368"/>
                    </a:cubicBezTo>
                    <a:cubicBezTo>
                      <a:pt x="396" y="362"/>
                      <a:pt x="394" y="356"/>
                      <a:pt x="389" y="353"/>
                    </a:cubicBezTo>
                    <a:close/>
                  </a:path>
                </a:pathLst>
              </a:custGeom>
              <a:solidFill>
                <a:srgbClr val="01509D"/>
              </a:solidFill>
              <a:ln>
                <a:noFill/>
              </a:ln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latin typeface="+mj-lt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F0DE38ED-4A03-4AEE-B7FC-63559BDC8CCA}"/>
                </a:ext>
              </a:extLst>
            </p:cNvPr>
            <p:cNvGrpSpPr/>
            <p:nvPr/>
          </p:nvGrpSpPr>
          <p:grpSpPr>
            <a:xfrm>
              <a:off x="6367672" y="5497066"/>
              <a:ext cx="1953995" cy="800361"/>
              <a:chOff x="4208804" y="1930866"/>
              <a:chExt cx="1776359" cy="727601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CEF45139-99FC-4962-BC04-F38CD9FFE864}"/>
                  </a:ext>
                </a:extLst>
              </p:cNvPr>
              <p:cNvSpPr txBox="1"/>
              <p:nvPr/>
            </p:nvSpPr>
            <p:spPr>
              <a:xfrm>
                <a:off x="4208804" y="2406650"/>
                <a:ext cx="1776359" cy="2518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1200">
                    <a:latin typeface="+mj-lt"/>
                  </a:rPr>
                  <a:t>Kostnadsgodkjenner</a:t>
                </a:r>
              </a:p>
            </p:txBody>
          </p:sp>
          <p:sp>
            <p:nvSpPr>
              <p:cNvPr id="39" name="Freeform 747">
                <a:extLst>
                  <a:ext uri="{FF2B5EF4-FFF2-40B4-BE49-F238E27FC236}">
                    <a16:creationId xmlns:a16="http://schemas.microsoft.com/office/drawing/2014/main" id="{D69502C3-CE2F-4DF3-AAED-4E180FC47A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866150" y="1930866"/>
                <a:ext cx="461665" cy="461665"/>
              </a:xfrm>
              <a:custGeom>
                <a:avLst/>
                <a:gdLst>
                  <a:gd name="T0" fmla="*/ 307 w 512"/>
                  <a:gd name="T1" fmla="*/ 137 h 512"/>
                  <a:gd name="T2" fmla="*/ 308 w 512"/>
                  <a:gd name="T3" fmla="*/ 137 h 512"/>
                  <a:gd name="T4" fmla="*/ 292 w 512"/>
                  <a:gd name="T5" fmla="*/ 149 h 512"/>
                  <a:gd name="T6" fmla="*/ 285 w 512"/>
                  <a:gd name="T7" fmla="*/ 141 h 512"/>
                  <a:gd name="T8" fmla="*/ 269 w 512"/>
                  <a:gd name="T9" fmla="*/ 141 h 512"/>
                  <a:gd name="T10" fmla="*/ 261 w 512"/>
                  <a:gd name="T11" fmla="*/ 150 h 512"/>
                  <a:gd name="T12" fmla="*/ 204 w 512"/>
                  <a:gd name="T13" fmla="*/ 137 h 512"/>
                  <a:gd name="T14" fmla="*/ 204 w 512"/>
                  <a:gd name="T15" fmla="*/ 137 h 512"/>
                  <a:gd name="T16" fmla="*/ 256 w 512"/>
                  <a:gd name="T17" fmla="*/ 117 h 512"/>
                  <a:gd name="T18" fmla="*/ 307 w 512"/>
                  <a:gd name="T19" fmla="*/ 137 h 512"/>
                  <a:gd name="T20" fmla="*/ 512 w 512"/>
                  <a:gd name="T21" fmla="*/ 256 h 512"/>
                  <a:gd name="T22" fmla="*/ 256 w 512"/>
                  <a:gd name="T23" fmla="*/ 512 h 512"/>
                  <a:gd name="T24" fmla="*/ 0 w 512"/>
                  <a:gd name="T25" fmla="*/ 256 h 512"/>
                  <a:gd name="T26" fmla="*/ 256 w 512"/>
                  <a:gd name="T27" fmla="*/ 0 h 512"/>
                  <a:gd name="T28" fmla="*/ 512 w 512"/>
                  <a:gd name="T29" fmla="*/ 256 h 512"/>
                  <a:gd name="T30" fmla="*/ 389 w 512"/>
                  <a:gd name="T31" fmla="*/ 353 h 512"/>
                  <a:gd name="T32" fmla="*/ 343 w 512"/>
                  <a:gd name="T33" fmla="*/ 342 h 512"/>
                  <a:gd name="T34" fmla="*/ 319 w 512"/>
                  <a:gd name="T35" fmla="*/ 338 h 512"/>
                  <a:gd name="T36" fmla="*/ 302 w 512"/>
                  <a:gd name="T37" fmla="*/ 290 h 512"/>
                  <a:gd name="T38" fmla="*/ 332 w 512"/>
                  <a:gd name="T39" fmla="*/ 222 h 512"/>
                  <a:gd name="T40" fmla="*/ 324 w 512"/>
                  <a:gd name="T41" fmla="*/ 124 h 512"/>
                  <a:gd name="T42" fmla="*/ 256 w 512"/>
                  <a:gd name="T43" fmla="*/ 96 h 512"/>
                  <a:gd name="T44" fmla="*/ 187 w 512"/>
                  <a:gd name="T45" fmla="*/ 124 h 512"/>
                  <a:gd name="T46" fmla="*/ 180 w 512"/>
                  <a:gd name="T47" fmla="*/ 222 h 512"/>
                  <a:gd name="T48" fmla="*/ 209 w 512"/>
                  <a:gd name="T49" fmla="*/ 289 h 512"/>
                  <a:gd name="T50" fmla="*/ 192 w 512"/>
                  <a:gd name="T51" fmla="*/ 338 h 512"/>
                  <a:gd name="T52" fmla="*/ 168 w 512"/>
                  <a:gd name="T53" fmla="*/ 342 h 512"/>
                  <a:gd name="T54" fmla="*/ 122 w 512"/>
                  <a:gd name="T55" fmla="*/ 353 h 512"/>
                  <a:gd name="T56" fmla="*/ 118 w 512"/>
                  <a:gd name="T57" fmla="*/ 368 h 512"/>
                  <a:gd name="T58" fmla="*/ 133 w 512"/>
                  <a:gd name="T59" fmla="*/ 372 h 512"/>
                  <a:gd name="T60" fmla="*/ 171 w 512"/>
                  <a:gd name="T61" fmla="*/ 363 h 512"/>
                  <a:gd name="T62" fmla="*/ 202 w 512"/>
                  <a:gd name="T63" fmla="*/ 357 h 512"/>
                  <a:gd name="T64" fmla="*/ 228 w 512"/>
                  <a:gd name="T65" fmla="*/ 315 h 512"/>
                  <a:gd name="T66" fmla="*/ 227 w 512"/>
                  <a:gd name="T67" fmla="*/ 278 h 512"/>
                  <a:gd name="T68" fmla="*/ 200 w 512"/>
                  <a:gd name="T69" fmla="*/ 216 h 512"/>
                  <a:gd name="T70" fmla="*/ 195 w 512"/>
                  <a:gd name="T71" fmla="*/ 159 h 512"/>
                  <a:gd name="T72" fmla="*/ 240 w 512"/>
                  <a:gd name="T73" fmla="*/ 175 h 512"/>
                  <a:gd name="T74" fmla="*/ 270 w 512"/>
                  <a:gd name="T75" fmla="*/ 170 h 512"/>
                  <a:gd name="T76" fmla="*/ 274 w 512"/>
                  <a:gd name="T77" fmla="*/ 167 h 512"/>
                  <a:gd name="T78" fmla="*/ 277 w 512"/>
                  <a:gd name="T79" fmla="*/ 164 h 512"/>
                  <a:gd name="T80" fmla="*/ 280 w 512"/>
                  <a:gd name="T81" fmla="*/ 167 h 512"/>
                  <a:gd name="T82" fmla="*/ 287 w 512"/>
                  <a:gd name="T83" fmla="*/ 170 h 512"/>
                  <a:gd name="T84" fmla="*/ 316 w 512"/>
                  <a:gd name="T85" fmla="*/ 159 h 512"/>
                  <a:gd name="T86" fmla="*/ 311 w 512"/>
                  <a:gd name="T87" fmla="*/ 216 h 512"/>
                  <a:gd name="T88" fmla="*/ 285 w 512"/>
                  <a:gd name="T89" fmla="*/ 278 h 512"/>
                  <a:gd name="T90" fmla="*/ 284 w 512"/>
                  <a:gd name="T91" fmla="*/ 315 h 512"/>
                  <a:gd name="T92" fmla="*/ 309 w 512"/>
                  <a:gd name="T93" fmla="*/ 357 h 512"/>
                  <a:gd name="T94" fmla="*/ 341 w 512"/>
                  <a:gd name="T95" fmla="*/ 363 h 512"/>
                  <a:gd name="T96" fmla="*/ 378 w 512"/>
                  <a:gd name="T97" fmla="*/ 372 h 512"/>
                  <a:gd name="T98" fmla="*/ 384 w 512"/>
                  <a:gd name="T99" fmla="*/ 373 h 512"/>
                  <a:gd name="T100" fmla="*/ 393 w 512"/>
                  <a:gd name="T101" fmla="*/ 368 h 512"/>
                  <a:gd name="T102" fmla="*/ 389 w 512"/>
                  <a:gd name="T103" fmla="*/ 353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2" h="512">
                    <a:moveTo>
                      <a:pt x="307" y="137"/>
                    </a:moveTo>
                    <a:cubicBezTo>
                      <a:pt x="307" y="137"/>
                      <a:pt x="307" y="137"/>
                      <a:pt x="308" y="137"/>
                    </a:cubicBezTo>
                    <a:cubicBezTo>
                      <a:pt x="302" y="145"/>
                      <a:pt x="295" y="148"/>
                      <a:pt x="292" y="149"/>
                    </a:cubicBezTo>
                    <a:cubicBezTo>
                      <a:pt x="285" y="141"/>
                      <a:pt x="285" y="141"/>
                      <a:pt x="285" y="141"/>
                    </a:cubicBezTo>
                    <a:cubicBezTo>
                      <a:pt x="280" y="137"/>
                      <a:pt x="274" y="137"/>
                      <a:pt x="269" y="141"/>
                    </a:cubicBezTo>
                    <a:cubicBezTo>
                      <a:pt x="261" y="150"/>
                      <a:pt x="261" y="150"/>
                      <a:pt x="261" y="150"/>
                    </a:cubicBezTo>
                    <a:cubicBezTo>
                      <a:pt x="252" y="153"/>
                      <a:pt x="221" y="160"/>
                      <a:pt x="204" y="137"/>
                    </a:cubicBezTo>
                    <a:cubicBezTo>
                      <a:pt x="204" y="137"/>
                      <a:pt x="204" y="137"/>
                      <a:pt x="204" y="137"/>
                    </a:cubicBezTo>
                    <a:cubicBezTo>
                      <a:pt x="214" y="124"/>
                      <a:pt x="231" y="117"/>
                      <a:pt x="256" y="117"/>
                    </a:cubicBezTo>
                    <a:cubicBezTo>
                      <a:pt x="280" y="117"/>
                      <a:pt x="297" y="124"/>
                      <a:pt x="307" y="137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389" y="353"/>
                    </a:moveTo>
                    <a:cubicBezTo>
                      <a:pt x="375" y="345"/>
                      <a:pt x="358" y="344"/>
                      <a:pt x="343" y="342"/>
                    </a:cubicBezTo>
                    <a:cubicBezTo>
                      <a:pt x="333" y="341"/>
                      <a:pt x="323" y="340"/>
                      <a:pt x="319" y="338"/>
                    </a:cubicBezTo>
                    <a:cubicBezTo>
                      <a:pt x="308" y="332"/>
                      <a:pt x="299" y="297"/>
                      <a:pt x="302" y="290"/>
                    </a:cubicBezTo>
                    <a:cubicBezTo>
                      <a:pt x="315" y="272"/>
                      <a:pt x="327" y="240"/>
                      <a:pt x="332" y="222"/>
                    </a:cubicBezTo>
                    <a:cubicBezTo>
                      <a:pt x="338" y="198"/>
                      <a:pt x="347" y="154"/>
                      <a:pt x="324" y="124"/>
                    </a:cubicBezTo>
                    <a:cubicBezTo>
                      <a:pt x="310" y="105"/>
                      <a:pt x="287" y="96"/>
                      <a:pt x="256" y="96"/>
                    </a:cubicBezTo>
                    <a:cubicBezTo>
                      <a:pt x="224" y="96"/>
                      <a:pt x="201" y="105"/>
                      <a:pt x="187" y="124"/>
                    </a:cubicBezTo>
                    <a:cubicBezTo>
                      <a:pt x="165" y="154"/>
                      <a:pt x="173" y="198"/>
                      <a:pt x="180" y="222"/>
                    </a:cubicBezTo>
                    <a:cubicBezTo>
                      <a:pt x="185" y="240"/>
                      <a:pt x="197" y="272"/>
                      <a:pt x="209" y="289"/>
                    </a:cubicBezTo>
                    <a:cubicBezTo>
                      <a:pt x="212" y="297"/>
                      <a:pt x="203" y="332"/>
                      <a:pt x="192" y="338"/>
                    </a:cubicBezTo>
                    <a:cubicBezTo>
                      <a:pt x="188" y="340"/>
                      <a:pt x="178" y="341"/>
                      <a:pt x="168" y="342"/>
                    </a:cubicBezTo>
                    <a:cubicBezTo>
                      <a:pt x="153" y="344"/>
                      <a:pt x="136" y="345"/>
                      <a:pt x="122" y="353"/>
                    </a:cubicBezTo>
                    <a:cubicBezTo>
                      <a:pt x="117" y="356"/>
                      <a:pt x="115" y="362"/>
                      <a:pt x="118" y="368"/>
                    </a:cubicBezTo>
                    <a:cubicBezTo>
                      <a:pt x="121" y="373"/>
                      <a:pt x="128" y="375"/>
                      <a:pt x="133" y="372"/>
                    </a:cubicBezTo>
                    <a:cubicBezTo>
                      <a:pt x="143" y="366"/>
                      <a:pt x="158" y="365"/>
                      <a:pt x="171" y="363"/>
                    </a:cubicBezTo>
                    <a:cubicBezTo>
                      <a:pt x="183" y="362"/>
                      <a:pt x="194" y="361"/>
                      <a:pt x="202" y="357"/>
                    </a:cubicBezTo>
                    <a:cubicBezTo>
                      <a:pt x="218" y="348"/>
                      <a:pt x="225" y="325"/>
                      <a:pt x="228" y="315"/>
                    </a:cubicBezTo>
                    <a:cubicBezTo>
                      <a:pt x="230" y="306"/>
                      <a:pt x="233" y="288"/>
                      <a:pt x="227" y="278"/>
                    </a:cubicBezTo>
                    <a:cubicBezTo>
                      <a:pt x="216" y="263"/>
                      <a:pt x="205" y="233"/>
                      <a:pt x="200" y="216"/>
                    </a:cubicBezTo>
                    <a:cubicBezTo>
                      <a:pt x="197" y="205"/>
                      <a:pt x="191" y="180"/>
                      <a:pt x="195" y="159"/>
                    </a:cubicBezTo>
                    <a:cubicBezTo>
                      <a:pt x="209" y="171"/>
                      <a:pt x="225" y="175"/>
                      <a:pt x="240" y="175"/>
                    </a:cubicBezTo>
                    <a:cubicBezTo>
                      <a:pt x="252" y="175"/>
                      <a:pt x="263" y="172"/>
                      <a:pt x="270" y="170"/>
                    </a:cubicBezTo>
                    <a:cubicBezTo>
                      <a:pt x="271" y="169"/>
                      <a:pt x="273" y="168"/>
                      <a:pt x="274" y="167"/>
                    </a:cubicBezTo>
                    <a:cubicBezTo>
                      <a:pt x="277" y="164"/>
                      <a:pt x="277" y="164"/>
                      <a:pt x="277" y="164"/>
                    </a:cubicBezTo>
                    <a:cubicBezTo>
                      <a:pt x="280" y="167"/>
                      <a:pt x="280" y="167"/>
                      <a:pt x="280" y="167"/>
                    </a:cubicBezTo>
                    <a:cubicBezTo>
                      <a:pt x="282" y="169"/>
                      <a:pt x="284" y="170"/>
                      <a:pt x="287" y="170"/>
                    </a:cubicBezTo>
                    <a:cubicBezTo>
                      <a:pt x="288" y="170"/>
                      <a:pt x="302" y="171"/>
                      <a:pt x="316" y="159"/>
                    </a:cubicBezTo>
                    <a:cubicBezTo>
                      <a:pt x="320" y="180"/>
                      <a:pt x="314" y="205"/>
                      <a:pt x="311" y="216"/>
                    </a:cubicBezTo>
                    <a:cubicBezTo>
                      <a:pt x="306" y="233"/>
                      <a:pt x="295" y="263"/>
                      <a:pt x="285" y="278"/>
                    </a:cubicBezTo>
                    <a:cubicBezTo>
                      <a:pt x="278" y="288"/>
                      <a:pt x="281" y="306"/>
                      <a:pt x="284" y="315"/>
                    </a:cubicBezTo>
                    <a:cubicBezTo>
                      <a:pt x="286" y="325"/>
                      <a:pt x="293" y="348"/>
                      <a:pt x="309" y="357"/>
                    </a:cubicBezTo>
                    <a:cubicBezTo>
                      <a:pt x="317" y="361"/>
                      <a:pt x="328" y="362"/>
                      <a:pt x="341" y="363"/>
                    </a:cubicBezTo>
                    <a:cubicBezTo>
                      <a:pt x="354" y="365"/>
                      <a:pt x="369" y="366"/>
                      <a:pt x="378" y="372"/>
                    </a:cubicBezTo>
                    <a:cubicBezTo>
                      <a:pt x="380" y="373"/>
                      <a:pt x="382" y="373"/>
                      <a:pt x="384" y="373"/>
                    </a:cubicBezTo>
                    <a:cubicBezTo>
                      <a:pt x="387" y="373"/>
                      <a:pt x="391" y="371"/>
                      <a:pt x="393" y="368"/>
                    </a:cubicBezTo>
                    <a:cubicBezTo>
                      <a:pt x="396" y="362"/>
                      <a:pt x="394" y="356"/>
                      <a:pt x="389" y="353"/>
                    </a:cubicBezTo>
                    <a:close/>
                  </a:path>
                </a:pathLst>
              </a:custGeom>
              <a:solidFill>
                <a:srgbClr val="01509D"/>
              </a:solidFill>
              <a:ln>
                <a:noFill/>
              </a:ln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latin typeface="+mj-lt"/>
                </a:endParaRPr>
              </a:p>
            </p:txBody>
          </p:sp>
        </p:grp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8BC8C86-A86A-4DB1-88F9-DB8A69DCE529}"/>
                </a:ext>
              </a:extLst>
            </p:cNvPr>
            <p:cNvCxnSpPr>
              <a:cxnSpLocks/>
              <a:stCxn id="28" idx="0"/>
              <a:endCxn id="32" idx="13"/>
            </p:cNvCxnSpPr>
            <p:nvPr/>
          </p:nvCxnSpPr>
          <p:spPr>
            <a:xfrm flipH="1">
              <a:off x="4209423" y="4990015"/>
              <a:ext cx="1567628" cy="507051"/>
            </a:xfrm>
            <a:prstGeom prst="line">
              <a:avLst/>
            </a:prstGeom>
            <a:ln>
              <a:solidFill>
                <a:srgbClr val="01509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96F07B4-72CD-46B7-8C56-2B3A9F7E50D4}"/>
                </a:ext>
              </a:extLst>
            </p:cNvPr>
            <p:cNvCxnSpPr>
              <a:cxnSpLocks/>
              <a:stCxn id="28" idx="2"/>
              <a:endCxn id="36" idx="13"/>
            </p:cNvCxnSpPr>
            <p:nvPr/>
          </p:nvCxnSpPr>
          <p:spPr>
            <a:xfrm flipH="1">
              <a:off x="5777046" y="5218939"/>
              <a:ext cx="5" cy="278127"/>
            </a:xfrm>
            <a:prstGeom prst="line">
              <a:avLst/>
            </a:prstGeom>
            <a:ln>
              <a:solidFill>
                <a:srgbClr val="01509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E21CDF95-BBF7-4575-BD0C-18F4AA1EB1F1}"/>
                </a:ext>
              </a:extLst>
            </p:cNvPr>
            <p:cNvCxnSpPr>
              <a:cxnSpLocks/>
              <a:stCxn id="28" idx="0"/>
              <a:endCxn id="39" idx="13"/>
            </p:cNvCxnSpPr>
            <p:nvPr/>
          </p:nvCxnSpPr>
          <p:spPr>
            <a:xfrm>
              <a:off x="5777051" y="4990015"/>
              <a:ext cx="1567618" cy="507051"/>
            </a:xfrm>
            <a:prstGeom prst="line">
              <a:avLst/>
            </a:prstGeom>
            <a:ln>
              <a:solidFill>
                <a:srgbClr val="01509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59527E0-90E1-4211-B854-D07D4EE5259A}"/>
                </a:ext>
              </a:extLst>
            </p:cNvPr>
            <p:cNvGrpSpPr/>
            <p:nvPr/>
          </p:nvGrpSpPr>
          <p:grpSpPr>
            <a:xfrm>
              <a:off x="4203584" y="4484893"/>
              <a:ext cx="4685262" cy="734048"/>
              <a:chOff x="3666560" y="1922851"/>
              <a:chExt cx="4259325" cy="667319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EBDBF85-D812-4BF4-B533-8BDB0AAB3C8B}"/>
                  </a:ext>
                </a:extLst>
              </p:cNvPr>
              <p:cNvSpPr txBox="1"/>
              <p:nvPr/>
            </p:nvSpPr>
            <p:spPr>
              <a:xfrm>
                <a:off x="3666560" y="2382056"/>
                <a:ext cx="2860846" cy="20811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b-NO" sz="1200">
                    <a:latin typeface="+mj-lt"/>
                  </a:rPr>
                  <a:t>Leder (Personal- og Kostnadsgodkjenner)</a:t>
                </a:r>
              </a:p>
            </p:txBody>
          </p:sp>
          <p:sp>
            <p:nvSpPr>
              <p:cNvPr id="29" name="Freeform 747">
                <a:extLst>
                  <a:ext uri="{FF2B5EF4-FFF2-40B4-BE49-F238E27FC236}">
                    <a16:creationId xmlns:a16="http://schemas.microsoft.com/office/drawing/2014/main" id="{B8BF6656-91D1-4996-B883-0B01AB36FF18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866149" y="1922851"/>
                <a:ext cx="461665" cy="461665"/>
              </a:xfrm>
              <a:custGeom>
                <a:avLst/>
                <a:gdLst>
                  <a:gd name="T0" fmla="*/ 307 w 512"/>
                  <a:gd name="T1" fmla="*/ 137 h 512"/>
                  <a:gd name="T2" fmla="*/ 308 w 512"/>
                  <a:gd name="T3" fmla="*/ 137 h 512"/>
                  <a:gd name="T4" fmla="*/ 292 w 512"/>
                  <a:gd name="T5" fmla="*/ 149 h 512"/>
                  <a:gd name="T6" fmla="*/ 285 w 512"/>
                  <a:gd name="T7" fmla="*/ 141 h 512"/>
                  <a:gd name="T8" fmla="*/ 269 w 512"/>
                  <a:gd name="T9" fmla="*/ 141 h 512"/>
                  <a:gd name="T10" fmla="*/ 261 w 512"/>
                  <a:gd name="T11" fmla="*/ 150 h 512"/>
                  <a:gd name="T12" fmla="*/ 204 w 512"/>
                  <a:gd name="T13" fmla="*/ 137 h 512"/>
                  <a:gd name="T14" fmla="*/ 204 w 512"/>
                  <a:gd name="T15" fmla="*/ 137 h 512"/>
                  <a:gd name="T16" fmla="*/ 256 w 512"/>
                  <a:gd name="T17" fmla="*/ 117 h 512"/>
                  <a:gd name="T18" fmla="*/ 307 w 512"/>
                  <a:gd name="T19" fmla="*/ 137 h 512"/>
                  <a:gd name="T20" fmla="*/ 512 w 512"/>
                  <a:gd name="T21" fmla="*/ 256 h 512"/>
                  <a:gd name="T22" fmla="*/ 256 w 512"/>
                  <a:gd name="T23" fmla="*/ 512 h 512"/>
                  <a:gd name="T24" fmla="*/ 0 w 512"/>
                  <a:gd name="T25" fmla="*/ 256 h 512"/>
                  <a:gd name="T26" fmla="*/ 256 w 512"/>
                  <a:gd name="T27" fmla="*/ 0 h 512"/>
                  <a:gd name="T28" fmla="*/ 512 w 512"/>
                  <a:gd name="T29" fmla="*/ 256 h 512"/>
                  <a:gd name="T30" fmla="*/ 389 w 512"/>
                  <a:gd name="T31" fmla="*/ 353 h 512"/>
                  <a:gd name="T32" fmla="*/ 343 w 512"/>
                  <a:gd name="T33" fmla="*/ 342 h 512"/>
                  <a:gd name="T34" fmla="*/ 319 w 512"/>
                  <a:gd name="T35" fmla="*/ 338 h 512"/>
                  <a:gd name="T36" fmla="*/ 302 w 512"/>
                  <a:gd name="T37" fmla="*/ 290 h 512"/>
                  <a:gd name="T38" fmla="*/ 332 w 512"/>
                  <a:gd name="T39" fmla="*/ 222 h 512"/>
                  <a:gd name="T40" fmla="*/ 324 w 512"/>
                  <a:gd name="T41" fmla="*/ 124 h 512"/>
                  <a:gd name="T42" fmla="*/ 256 w 512"/>
                  <a:gd name="T43" fmla="*/ 96 h 512"/>
                  <a:gd name="T44" fmla="*/ 187 w 512"/>
                  <a:gd name="T45" fmla="*/ 124 h 512"/>
                  <a:gd name="T46" fmla="*/ 180 w 512"/>
                  <a:gd name="T47" fmla="*/ 222 h 512"/>
                  <a:gd name="T48" fmla="*/ 209 w 512"/>
                  <a:gd name="T49" fmla="*/ 289 h 512"/>
                  <a:gd name="T50" fmla="*/ 192 w 512"/>
                  <a:gd name="T51" fmla="*/ 338 h 512"/>
                  <a:gd name="T52" fmla="*/ 168 w 512"/>
                  <a:gd name="T53" fmla="*/ 342 h 512"/>
                  <a:gd name="T54" fmla="*/ 122 w 512"/>
                  <a:gd name="T55" fmla="*/ 353 h 512"/>
                  <a:gd name="T56" fmla="*/ 118 w 512"/>
                  <a:gd name="T57" fmla="*/ 368 h 512"/>
                  <a:gd name="T58" fmla="*/ 133 w 512"/>
                  <a:gd name="T59" fmla="*/ 372 h 512"/>
                  <a:gd name="T60" fmla="*/ 171 w 512"/>
                  <a:gd name="T61" fmla="*/ 363 h 512"/>
                  <a:gd name="T62" fmla="*/ 202 w 512"/>
                  <a:gd name="T63" fmla="*/ 357 h 512"/>
                  <a:gd name="T64" fmla="*/ 228 w 512"/>
                  <a:gd name="T65" fmla="*/ 315 h 512"/>
                  <a:gd name="T66" fmla="*/ 227 w 512"/>
                  <a:gd name="T67" fmla="*/ 278 h 512"/>
                  <a:gd name="T68" fmla="*/ 200 w 512"/>
                  <a:gd name="T69" fmla="*/ 216 h 512"/>
                  <a:gd name="T70" fmla="*/ 195 w 512"/>
                  <a:gd name="T71" fmla="*/ 159 h 512"/>
                  <a:gd name="T72" fmla="*/ 240 w 512"/>
                  <a:gd name="T73" fmla="*/ 175 h 512"/>
                  <a:gd name="T74" fmla="*/ 270 w 512"/>
                  <a:gd name="T75" fmla="*/ 170 h 512"/>
                  <a:gd name="T76" fmla="*/ 274 w 512"/>
                  <a:gd name="T77" fmla="*/ 167 h 512"/>
                  <a:gd name="T78" fmla="*/ 277 w 512"/>
                  <a:gd name="T79" fmla="*/ 164 h 512"/>
                  <a:gd name="T80" fmla="*/ 280 w 512"/>
                  <a:gd name="T81" fmla="*/ 167 h 512"/>
                  <a:gd name="T82" fmla="*/ 287 w 512"/>
                  <a:gd name="T83" fmla="*/ 170 h 512"/>
                  <a:gd name="T84" fmla="*/ 316 w 512"/>
                  <a:gd name="T85" fmla="*/ 159 h 512"/>
                  <a:gd name="T86" fmla="*/ 311 w 512"/>
                  <a:gd name="T87" fmla="*/ 216 h 512"/>
                  <a:gd name="T88" fmla="*/ 285 w 512"/>
                  <a:gd name="T89" fmla="*/ 278 h 512"/>
                  <a:gd name="T90" fmla="*/ 284 w 512"/>
                  <a:gd name="T91" fmla="*/ 315 h 512"/>
                  <a:gd name="T92" fmla="*/ 309 w 512"/>
                  <a:gd name="T93" fmla="*/ 357 h 512"/>
                  <a:gd name="T94" fmla="*/ 341 w 512"/>
                  <a:gd name="T95" fmla="*/ 363 h 512"/>
                  <a:gd name="T96" fmla="*/ 378 w 512"/>
                  <a:gd name="T97" fmla="*/ 372 h 512"/>
                  <a:gd name="T98" fmla="*/ 384 w 512"/>
                  <a:gd name="T99" fmla="*/ 373 h 512"/>
                  <a:gd name="T100" fmla="*/ 393 w 512"/>
                  <a:gd name="T101" fmla="*/ 368 h 512"/>
                  <a:gd name="T102" fmla="*/ 389 w 512"/>
                  <a:gd name="T103" fmla="*/ 353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2" h="512">
                    <a:moveTo>
                      <a:pt x="307" y="137"/>
                    </a:moveTo>
                    <a:cubicBezTo>
                      <a:pt x="307" y="137"/>
                      <a:pt x="307" y="137"/>
                      <a:pt x="308" y="137"/>
                    </a:cubicBezTo>
                    <a:cubicBezTo>
                      <a:pt x="302" y="145"/>
                      <a:pt x="295" y="148"/>
                      <a:pt x="292" y="149"/>
                    </a:cubicBezTo>
                    <a:cubicBezTo>
                      <a:pt x="285" y="141"/>
                      <a:pt x="285" y="141"/>
                      <a:pt x="285" y="141"/>
                    </a:cubicBezTo>
                    <a:cubicBezTo>
                      <a:pt x="280" y="137"/>
                      <a:pt x="274" y="137"/>
                      <a:pt x="269" y="141"/>
                    </a:cubicBezTo>
                    <a:cubicBezTo>
                      <a:pt x="261" y="150"/>
                      <a:pt x="261" y="150"/>
                      <a:pt x="261" y="150"/>
                    </a:cubicBezTo>
                    <a:cubicBezTo>
                      <a:pt x="252" y="153"/>
                      <a:pt x="221" y="160"/>
                      <a:pt x="204" y="137"/>
                    </a:cubicBezTo>
                    <a:cubicBezTo>
                      <a:pt x="204" y="137"/>
                      <a:pt x="204" y="137"/>
                      <a:pt x="204" y="137"/>
                    </a:cubicBezTo>
                    <a:cubicBezTo>
                      <a:pt x="214" y="124"/>
                      <a:pt x="231" y="117"/>
                      <a:pt x="256" y="117"/>
                    </a:cubicBezTo>
                    <a:cubicBezTo>
                      <a:pt x="280" y="117"/>
                      <a:pt x="297" y="124"/>
                      <a:pt x="307" y="137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389" y="353"/>
                    </a:moveTo>
                    <a:cubicBezTo>
                      <a:pt x="375" y="345"/>
                      <a:pt x="358" y="344"/>
                      <a:pt x="343" y="342"/>
                    </a:cubicBezTo>
                    <a:cubicBezTo>
                      <a:pt x="333" y="341"/>
                      <a:pt x="323" y="340"/>
                      <a:pt x="319" y="338"/>
                    </a:cubicBezTo>
                    <a:cubicBezTo>
                      <a:pt x="308" y="332"/>
                      <a:pt x="299" y="297"/>
                      <a:pt x="302" y="290"/>
                    </a:cubicBezTo>
                    <a:cubicBezTo>
                      <a:pt x="315" y="272"/>
                      <a:pt x="327" y="240"/>
                      <a:pt x="332" y="222"/>
                    </a:cubicBezTo>
                    <a:cubicBezTo>
                      <a:pt x="338" y="198"/>
                      <a:pt x="347" y="154"/>
                      <a:pt x="324" y="124"/>
                    </a:cubicBezTo>
                    <a:cubicBezTo>
                      <a:pt x="310" y="105"/>
                      <a:pt x="287" y="96"/>
                      <a:pt x="256" y="96"/>
                    </a:cubicBezTo>
                    <a:cubicBezTo>
                      <a:pt x="224" y="96"/>
                      <a:pt x="201" y="105"/>
                      <a:pt x="187" y="124"/>
                    </a:cubicBezTo>
                    <a:cubicBezTo>
                      <a:pt x="165" y="154"/>
                      <a:pt x="173" y="198"/>
                      <a:pt x="180" y="222"/>
                    </a:cubicBezTo>
                    <a:cubicBezTo>
                      <a:pt x="185" y="240"/>
                      <a:pt x="197" y="272"/>
                      <a:pt x="209" y="289"/>
                    </a:cubicBezTo>
                    <a:cubicBezTo>
                      <a:pt x="212" y="297"/>
                      <a:pt x="203" y="332"/>
                      <a:pt x="192" y="338"/>
                    </a:cubicBezTo>
                    <a:cubicBezTo>
                      <a:pt x="188" y="340"/>
                      <a:pt x="178" y="341"/>
                      <a:pt x="168" y="342"/>
                    </a:cubicBezTo>
                    <a:cubicBezTo>
                      <a:pt x="153" y="344"/>
                      <a:pt x="136" y="345"/>
                      <a:pt x="122" y="353"/>
                    </a:cubicBezTo>
                    <a:cubicBezTo>
                      <a:pt x="117" y="356"/>
                      <a:pt x="115" y="362"/>
                      <a:pt x="118" y="368"/>
                    </a:cubicBezTo>
                    <a:cubicBezTo>
                      <a:pt x="121" y="373"/>
                      <a:pt x="128" y="375"/>
                      <a:pt x="133" y="372"/>
                    </a:cubicBezTo>
                    <a:cubicBezTo>
                      <a:pt x="143" y="366"/>
                      <a:pt x="158" y="365"/>
                      <a:pt x="171" y="363"/>
                    </a:cubicBezTo>
                    <a:cubicBezTo>
                      <a:pt x="183" y="362"/>
                      <a:pt x="194" y="361"/>
                      <a:pt x="202" y="357"/>
                    </a:cubicBezTo>
                    <a:cubicBezTo>
                      <a:pt x="218" y="348"/>
                      <a:pt x="225" y="325"/>
                      <a:pt x="228" y="315"/>
                    </a:cubicBezTo>
                    <a:cubicBezTo>
                      <a:pt x="230" y="306"/>
                      <a:pt x="233" y="288"/>
                      <a:pt x="227" y="278"/>
                    </a:cubicBezTo>
                    <a:cubicBezTo>
                      <a:pt x="216" y="263"/>
                      <a:pt x="205" y="233"/>
                      <a:pt x="200" y="216"/>
                    </a:cubicBezTo>
                    <a:cubicBezTo>
                      <a:pt x="197" y="205"/>
                      <a:pt x="191" y="180"/>
                      <a:pt x="195" y="159"/>
                    </a:cubicBezTo>
                    <a:cubicBezTo>
                      <a:pt x="209" y="171"/>
                      <a:pt x="225" y="175"/>
                      <a:pt x="240" y="175"/>
                    </a:cubicBezTo>
                    <a:cubicBezTo>
                      <a:pt x="252" y="175"/>
                      <a:pt x="263" y="172"/>
                      <a:pt x="270" y="170"/>
                    </a:cubicBezTo>
                    <a:cubicBezTo>
                      <a:pt x="271" y="169"/>
                      <a:pt x="273" y="168"/>
                      <a:pt x="274" y="167"/>
                    </a:cubicBezTo>
                    <a:cubicBezTo>
                      <a:pt x="277" y="164"/>
                      <a:pt x="277" y="164"/>
                      <a:pt x="277" y="164"/>
                    </a:cubicBezTo>
                    <a:cubicBezTo>
                      <a:pt x="280" y="167"/>
                      <a:pt x="280" y="167"/>
                      <a:pt x="280" y="167"/>
                    </a:cubicBezTo>
                    <a:cubicBezTo>
                      <a:pt x="282" y="169"/>
                      <a:pt x="284" y="170"/>
                      <a:pt x="287" y="170"/>
                    </a:cubicBezTo>
                    <a:cubicBezTo>
                      <a:pt x="288" y="170"/>
                      <a:pt x="302" y="171"/>
                      <a:pt x="316" y="159"/>
                    </a:cubicBezTo>
                    <a:cubicBezTo>
                      <a:pt x="320" y="180"/>
                      <a:pt x="314" y="205"/>
                      <a:pt x="311" y="216"/>
                    </a:cubicBezTo>
                    <a:cubicBezTo>
                      <a:pt x="306" y="233"/>
                      <a:pt x="295" y="263"/>
                      <a:pt x="285" y="278"/>
                    </a:cubicBezTo>
                    <a:cubicBezTo>
                      <a:pt x="278" y="288"/>
                      <a:pt x="281" y="306"/>
                      <a:pt x="284" y="315"/>
                    </a:cubicBezTo>
                    <a:cubicBezTo>
                      <a:pt x="286" y="325"/>
                      <a:pt x="293" y="348"/>
                      <a:pt x="309" y="357"/>
                    </a:cubicBezTo>
                    <a:cubicBezTo>
                      <a:pt x="317" y="361"/>
                      <a:pt x="328" y="362"/>
                      <a:pt x="341" y="363"/>
                    </a:cubicBezTo>
                    <a:cubicBezTo>
                      <a:pt x="354" y="365"/>
                      <a:pt x="369" y="366"/>
                      <a:pt x="378" y="372"/>
                    </a:cubicBezTo>
                    <a:cubicBezTo>
                      <a:pt x="380" y="373"/>
                      <a:pt x="382" y="373"/>
                      <a:pt x="384" y="373"/>
                    </a:cubicBezTo>
                    <a:cubicBezTo>
                      <a:pt x="387" y="373"/>
                      <a:pt x="391" y="371"/>
                      <a:pt x="393" y="368"/>
                    </a:cubicBezTo>
                    <a:cubicBezTo>
                      <a:pt x="396" y="362"/>
                      <a:pt x="394" y="356"/>
                      <a:pt x="389" y="353"/>
                    </a:cubicBezTo>
                    <a:close/>
                  </a:path>
                </a:pathLst>
              </a:custGeom>
              <a:solidFill>
                <a:srgbClr val="01509D"/>
              </a:solidFill>
              <a:ln>
                <a:noFill/>
              </a:ln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latin typeface="+mj-lt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717A0A53-A683-4D97-9BF3-8CCEA2198CBE}"/>
                  </a:ext>
                </a:extLst>
              </p:cNvPr>
              <p:cNvSpPr txBox="1"/>
              <p:nvPr/>
            </p:nvSpPr>
            <p:spPr>
              <a:xfrm>
                <a:off x="6923177" y="2325567"/>
                <a:ext cx="1002708" cy="22383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b-NO" sz="1000">
                    <a:latin typeface="+mj-lt"/>
                  </a:rPr>
                  <a:t>(Stedfortreder)</a:t>
                </a:r>
              </a:p>
            </p:txBody>
          </p:sp>
          <p:sp>
            <p:nvSpPr>
              <p:cNvPr id="57" name="Freeform 747">
                <a:extLst>
                  <a:ext uri="{FF2B5EF4-FFF2-40B4-BE49-F238E27FC236}">
                    <a16:creationId xmlns:a16="http://schemas.microsoft.com/office/drawing/2014/main" id="{5BA835D9-3F62-470A-9A86-3AB91AD419A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251099" y="1980257"/>
                <a:ext cx="346855" cy="346856"/>
              </a:xfrm>
              <a:custGeom>
                <a:avLst/>
                <a:gdLst>
                  <a:gd name="T0" fmla="*/ 307 w 512"/>
                  <a:gd name="T1" fmla="*/ 137 h 512"/>
                  <a:gd name="T2" fmla="*/ 308 w 512"/>
                  <a:gd name="T3" fmla="*/ 137 h 512"/>
                  <a:gd name="T4" fmla="*/ 292 w 512"/>
                  <a:gd name="T5" fmla="*/ 149 h 512"/>
                  <a:gd name="T6" fmla="*/ 285 w 512"/>
                  <a:gd name="T7" fmla="*/ 141 h 512"/>
                  <a:gd name="T8" fmla="*/ 269 w 512"/>
                  <a:gd name="T9" fmla="*/ 141 h 512"/>
                  <a:gd name="T10" fmla="*/ 261 w 512"/>
                  <a:gd name="T11" fmla="*/ 150 h 512"/>
                  <a:gd name="T12" fmla="*/ 204 w 512"/>
                  <a:gd name="T13" fmla="*/ 137 h 512"/>
                  <a:gd name="T14" fmla="*/ 204 w 512"/>
                  <a:gd name="T15" fmla="*/ 137 h 512"/>
                  <a:gd name="T16" fmla="*/ 256 w 512"/>
                  <a:gd name="T17" fmla="*/ 117 h 512"/>
                  <a:gd name="T18" fmla="*/ 307 w 512"/>
                  <a:gd name="T19" fmla="*/ 137 h 512"/>
                  <a:gd name="T20" fmla="*/ 512 w 512"/>
                  <a:gd name="T21" fmla="*/ 256 h 512"/>
                  <a:gd name="T22" fmla="*/ 256 w 512"/>
                  <a:gd name="T23" fmla="*/ 512 h 512"/>
                  <a:gd name="T24" fmla="*/ 0 w 512"/>
                  <a:gd name="T25" fmla="*/ 256 h 512"/>
                  <a:gd name="T26" fmla="*/ 256 w 512"/>
                  <a:gd name="T27" fmla="*/ 0 h 512"/>
                  <a:gd name="T28" fmla="*/ 512 w 512"/>
                  <a:gd name="T29" fmla="*/ 256 h 512"/>
                  <a:gd name="T30" fmla="*/ 389 w 512"/>
                  <a:gd name="T31" fmla="*/ 353 h 512"/>
                  <a:gd name="T32" fmla="*/ 343 w 512"/>
                  <a:gd name="T33" fmla="*/ 342 h 512"/>
                  <a:gd name="T34" fmla="*/ 319 w 512"/>
                  <a:gd name="T35" fmla="*/ 338 h 512"/>
                  <a:gd name="T36" fmla="*/ 302 w 512"/>
                  <a:gd name="T37" fmla="*/ 290 h 512"/>
                  <a:gd name="T38" fmla="*/ 332 w 512"/>
                  <a:gd name="T39" fmla="*/ 222 h 512"/>
                  <a:gd name="T40" fmla="*/ 324 w 512"/>
                  <a:gd name="T41" fmla="*/ 124 h 512"/>
                  <a:gd name="T42" fmla="*/ 256 w 512"/>
                  <a:gd name="T43" fmla="*/ 96 h 512"/>
                  <a:gd name="T44" fmla="*/ 187 w 512"/>
                  <a:gd name="T45" fmla="*/ 124 h 512"/>
                  <a:gd name="T46" fmla="*/ 180 w 512"/>
                  <a:gd name="T47" fmla="*/ 222 h 512"/>
                  <a:gd name="T48" fmla="*/ 209 w 512"/>
                  <a:gd name="T49" fmla="*/ 289 h 512"/>
                  <a:gd name="T50" fmla="*/ 192 w 512"/>
                  <a:gd name="T51" fmla="*/ 338 h 512"/>
                  <a:gd name="T52" fmla="*/ 168 w 512"/>
                  <a:gd name="T53" fmla="*/ 342 h 512"/>
                  <a:gd name="T54" fmla="*/ 122 w 512"/>
                  <a:gd name="T55" fmla="*/ 353 h 512"/>
                  <a:gd name="T56" fmla="*/ 118 w 512"/>
                  <a:gd name="T57" fmla="*/ 368 h 512"/>
                  <a:gd name="T58" fmla="*/ 133 w 512"/>
                  <a:gd name="T59" fmla="*/ 372 h 512"/>
                  <a:gd name="T60" fmla="*/ 171 w 512"/>
                  <a:gd name="T61" fmla="*/ 363 h 512"/>
                  <a:gd name="T62" fmla="*/ 202 w 512"/>
                  <a:gd name="T63" fmla="*/ 357 h 512"/>
                  <a:gd name="T64" fmla="*/ 228 w 512"/>
                  <a:gd name="T65" fmla="*/ 315 h 512"/>
                  <a:gd name="T66" fmla="*/ 227 w 512"/>
                  <a:gd name="T67" fmla="*/ 278 h 512"/>
                  <a:gd name="T68" fmla="*/ 200 w 512"/>
                  <a:gd name="T69" fmla="*/ 216 h 512"/>
                  <a:gd name="T70" fmla="*/ 195 w 512"/>
                  <a:gd name="T71" fmla="*/ 159 h 512"/>
                  <a:gd name="T72" fmla="*/ 240 w 512"/>
                  <a:gd name="T73" fmla="*/ 175 h 512"/>
                  <a:gd name="T74" fmla="*/ 270 w 512"/>
                  <a:gd name="T75" fmla="*/ 170 h 512"/>
                  <a:gd name="T76" fmla="*/ 274 w 512"/>
                  <a:gd name="T77" fmla="*/ 167 h 512"/>
                  <a:gd name="T78" fmla="*/ 277 w 512"/>
                  <a:gd name="T79" fmla="*/ 164 h 512"/>
                  <a:gd name="T80" fmla="*/ 280 w 512"/>
                  <a:gd name="T81" fmla="*/ 167 h 512"/>
                  <a:gd name="T82" fmla="*/ 287 w 512"/>
                  <a:gd name="T83" fmla="*/ 170 h 512"/>
                  <a:gd name="T84" fmla="*/ 316 w 512"/>
                  <a:gd name="T85" fmla="*/ 159 h 512"/>
                  <a:gd name="T86" fmla="*/ 311 w 512"/>
                  <a:gd name="T87" fmla="*/ 216 h 512"/>
                  <a:gd name="T88" fmla="*/ 285 w 512"/>
                  <a:gd name="T89" fmla="*/ 278 h 512"/>
                  <a:gd name="T90" fmla="*/ 284 w 512"/>
                  <a:gd name="T91" fmla="*/ 315 h 512"/>
                  <a:gd name="T92" fmla="*/ 309 w 512"/>
                  <a:gd name="T93" fmla="*/ 357 h 512"/>
                  <a:gd name="T94" fmla="*/ 341 w 512"/>
                  <a:gd name="T95" fmla="*/ 363 h 512"/>
                  <a:gd name="T96" fmla="*/ 378 w 512"/>
                  <a:gd name="T97" fmla="*/ 372 h 512"/>
                  <a:gd name="T98" fmla="*/ 384 w 512"/>
                  <a:gd name="T99" fmla="*/ 373 h 512"/>
                  <a:gd name="T100" fmla="*/ 393 w 512"/>
                  <a:gd name="T101" fmla="*/ 368 h 512"/>
                  <a:gd name="T102" fmla="*/ 389 w 512"/>
                  <a:gd name="T103" fmla="*/ 353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2" h="512">
                    <a:moveTo>
                      <a:pt x="307" y="137"/>
                    </a:moveTo>
                    <a:cubicBezTo>
                      <a:pt x="307" y="137"/>
                      <a:pt x="307" y="137"/>
                      <a:pt x="308" y="137"/>
                    </a:cubicBezTo>
                    <a:cubicBezTo>
                      <a:pt x="302" y="145"/>
                      <a:pt x="295" y="148"/>
                      <a:pt x="292" y="149"/>
                    </a:cubicBezTo>
                    <a:cubicBezTo>
                      <a:pt x="285" y="141"/>
                      <a:pt x="285" y="141"/>
                      <a:pt x="285" y="141"/>
                    </a:cubicBezTo>
                    <a:cubicBezTo>
                      <a:pt x="280" y="137"/>
                      <a:pt x="274" y="137"/>
                      <a:pt x="269" y="141"/>
                    </a:cubicBezTo>
                    <a:cubicBezTo>
                      <a:pt x="261" y="150"/>
                      <a:pt x="261" y="150"/>
                      <a:pt x="261" y="150"/>
                    </a:cubicBezTo>
                    <a:cubicBezTo>
                      <a:pt x="252" y="153"/>
                      <a:pt x="221" y="160"/>
                      <a:pt x="204" y="137"/>
                    </a:cubicBezTo>
                    <a:cubicBezTo>
                      <a:pt x="204" y="137"/>
                      <a:pt x="204" y="137"/>
                      <a:pt x="204" y="137"/>
                    </a:cubicBezTo>
                    <a:cubicBezTo>
                      <a:pt x="214" y="124"/>
                      <a:pt x="231" y="117"/>
                      <a:pt x="256" y="117"/>
                    </a:cubicBezTo>
                    <a:cubicBezTo>
                      <a:pt x="280" y="117"/>
                      <a:pt x="297" y="124"/>
                      <a:pt x="307" y="137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389" y="353"/>
                    </a:moveTo>
                    <a:cubicBezTo>
                      <a:pt x="375" y="345"/>
                      <a:pt x="358" y="344"/>
                      <a:pt x="343" y="342"/>
                    </a:cubicBezTo>
                    <a:cubicBezTo>
                      <a:pt x="333" y="341"/>
                      <a:pt x="323" y="340"/>
                      <a:pt x="319" y="338"/>
                    </a:cubicBezTo>
                    <a:cubicBezTo>
                      <a:pt x="308" y="332"/>
                      <a:pt x="299" y="297"/>
                      <a:pt x="302" y="290"/>
                    </a:cubicBezTo>
                    <a:cubicBezTo>
                      <a:pt x="315" y="272"/>
                      <a:pt x="327" y="240"/>
                      <a:pt x="332" y="222"/>
                    </a:cubicBezTo>
                    <a:cubicBezTo>
                      <a:pt x="338" y="198"/>
                      <a:pt x="347" y="154"/>
                      <a:pt x="324" y="124"/>
                    </a:cubicBezTo>
                    <a:cubicBezTo>
                      <a:pt x="310" y="105"/>
                      <a:pt x="287" y="96"/>
                      <a:pt x="256" y="96"/>
                    </a:cubicBezTo>
                    <a:cubicBezTo>
                      <a:pt x="224" y="96"/>
                      <a:pt x="201" y="105"/>
                      <a:pt x="187" y="124"/>
                    </a:cubicBezTo>
                    <a:cubicBezTo>
                      <a:pt x="165" y="154"/>
                      <a:pt x="173" y="198"/>
                      <a:pt x="180" y="222"/>
                    </a:cubicBezTo>
                    <a:cubicBezTo>
                      <a:pt x="185" y="240"/>
                      <a:pt x="197" y="272"/>
                      <a:pt x="209" y="289"/>
                    </a:cubicBezTo>
                    <a:cubicBezTo>
                      <a:pt x="212" y="297"/>
                      <a:pt x="203" y="332"/>
                      <a:pt x="192" y="338"/>
                    </a:cubicBezTo>
                    <a:cubicBezTo>
                      <a:pt x="188" y="340"/>
                      <a:pt x="178" y="341"/>
                      <a:pt x="168" y="342"/>
                    </a:cubicBezTo>
                    <a:cubicBezTo>
                      <a:pt x="153" y="344"/>
                      <a:pt x="136" y="345"/>
                      <a:pt x="122" y="353"/>
                    </a:cubicBezTo>
                    <a:cubicBezTo>
                      <a:pt x="117" y="356"/>
                      <a:pt x="115" y="362"/>
                      <a:pt x="118" y="368"/>
                    </a:cubicBezTo>
                    <a:cubicBezTo>
                      <a:pt x="121" y="373"/>
                      <a:pt x="128" y="375"/>
                      <a:pt x="133" y="372"/>
                    </a:cubicBezTo>
                    <a:cubicBezTo>
                      <a:pt x="143" y="366"/>
                      <a:pt x="158" y="365"/>
                      <a:pt x="171" y="363"/>
                    </a:cubicBezTo>
                    <a:cubicBezTo>
                      <a:pt x="183" y="362"/>
                      <a:pt x="194" y="361"/>
                      <a:pt x="202" y="357"/>
                    </a:cubicBezTo>
                    <a:cubicBezTo>
                      <a:pt x="218" y="348"/>
                      <a:pt x="225" y="325"/>
                      <a:pt x="228" y="315"/>
                    </a:cubicBezTo>
                    <a:cubicBezTo>
                      <a:pt x="230" y="306"/>
                      <a:pt x="233" y="288"/>
                      <a:pt x="227" y="278"/>
                    </a:cubicBezTo>
                    <a:cubicBezTo>
                      <a:pt x="216" y="263"/>
                      <a:pt x="205" y="233"/>
                      <a:pt x="200" y="216"/>
                    </a:cubicBezTo>
                    <a:cubicBezTo>
                      <a:pt x="197" y="205"/>
                      <a:pt x="191" y="180"/>
                      <a:pt x="195" y="159"/>
                    </a:cubicBezTo>
                    <a:cubicBezTo>
                      <a:pt x="209" y="171"/>
                      <a:pt x="225" y="175"/>
                      <a:pt x="240" y="175"/>
                    </a:cubicBezTo>
                    <a:cubicBezTo>
                      <a:pt x="252" y="175"/>
                      <a:pt x="263" y="172"/>
                      <a:pt x="270" y="170"/>
                    </a:cubicBezTo>
                    <a:cubicBezTo>
                      <a:pt x="271" y="169"/>
                      <a:pt x="273" y="168"/>
                      <a:pt x="274" y="167"/>
                    </a:cubicBezTo>
                    <a:cubicBezTo>
                      <a:pt x="277" y="164"/>
                      <a:pt x="277" y="164"/>
                      <a:pt x="277" y="164"/>
                    </a:cubicBezTo>
                    <a:cubicBezTo>
                      <a:pt x="280" y="167"/>
                      <a:pt x="280" y="167"/>
                      <a:pt x="280" y="167"/>
                    </a:cubicBezTo>
                    <a:cubicBezTo>
                      <a:pt x="282" y="169"/>
                      <a:pt x="284" y="170"/>
                      <a:pt x="287" y="170"/>
                    </a:cubicBezTo>
                    <a:cubicBezTo>
                      <a:pt x="288" y="170"/>
                      <a:pt x="302" y="171"/>
                      <a:pt x="316" y="159"/>
                    </a:cubicBezTo>
                    <a:cubicBezTo>
                      <a:pt x="320" y="180"/>
                      <a:pt x="314" y="205"/>
                      <a:pt x="311" y="216"/>
                    </a:cubicBezTo>
                    <a:cubicBezTo>
                      <a:pt x="306" y="233"/>
                      <a:pt x="295" y="263"/>
                      <a:pt x="285" y="278"/>
                    </a:cubicBezTo>
                    <a:cubicBezTo>
                      <a:pt x="278" y="288"/>
                      <a:pt x="281" y="306"/>
                      <a:pt x="284" y="315"/>
                    </a:cubicBezTo>
                    <a:cubicBezTo>
                      <a:pt x="286" y="325"/>
                      <a:pt x="293" y="348"/>
                      <a:pt x="309" y="357"/>
                    </a:cubicBezTo>
                    <a:cubicBezTo>
                      <a:pt x="317" y="361"/>
                      <a:pt x="328" y="362"/>
                      <a:pt x="341" y="363"/>
                    </a:cubicBezTo>
                    <a:cubicBezTo>
                      <a:pt x="354" y="365"/>
                      <a:pt x="369" y="366"/>
                      <a:pt x="378" y="372"/>
                    </a:cubicBezTo>
                    <a:cubicBezTo>
                      <a:pt x="380" y="373"/>
                      <a:pt x="382" y="373"/>
                      <a:pt x="384" y="373"/>
                    </a:cubicBezTo>
                    <a:cubicBezTo>
                      <a:pt x="387" y="373"/>
                      <a:pt x="391" y="371"/>
                      <a:pt x="393" y="368"/>
                    </a:cubicBezTo>
                    <a:cubicBezTo>
                      <a:pt x="396" y="362"/>
                      <a:pt x="394" y="356"/>
                      <a:pt x="389" y="35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latin typeface="+mj-lt"/>
                </a:endParaRPr>
              </a:p>
            </p:txBody>
          </p:sp>
        </p:grp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8E02455-1514-42F3-879E-22EE1C4C4DAC}"/>
                </a:ext>
              </a:extLst>
            </p:cNvPr>
            <p:cNvCxnSpPr>
              <a:cxnSpLocks/>
              <a:stCxn id="29" idx="10"/>
              <a:endCxn id="57" idx="12"/>
            </p:cNvCxnSpPr>
            <p:nvPr/>
          </p:nvCxnSpPr>
          <p:spPr>
            <a:xfrm>
              <a:off x="6030965" y="4738807"/>
              <a:ext cx="211561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64506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5" descr="Personalgodkjenner - Godkjenner personal - Rollebeskrivelse.pdf">
            <a:extLst>
              <a:ext uri="{FF2B5EF4-FFF2-40B4-BE49-F238E27FC236}">
                <a16:creationId xmlns:a16="http://schemas.microsoft.com/office/drawing/2014/main" id="{CE628941-4A72-4CA0-9A83-803C5271B8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836" b="10790"/>
          <a:stretch/>
        </p:blipFill>
        <p:spPr>
          <a:xfrm>
            <a:off x="1242124" y="1510297"/>
            <a:ext cx="10704738" cy="450660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1A0E199-C859-4AB0-9E9E-F8909AAA24A5}"/>
              </a:ext>
            </a:extLst>
          </p:cNvPr>
          <p:cNvGrpSpPr/>
          <p:nvPr/>
        </p:nvGrpSpPr>
        <p:grpSpPr>
          <a:xfrm>
            <a:off x="1838732" y="257653"/>
            <a:ext cx="6328677" cy="170259"/>
            <a:chOff x="2190685" y="193853"/>
            <a:chExt cx="6328677" cy="17025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76CCCFB-4E4B-4EC3-8FF9-8D414A25D188}"/>
                </a:ext>
              </a:extLst>
            </p:cNvPr>
            <p:cNvSpPr txBox="1"/>
            <p:nvPr/>
          </p:nvSpPr>
          <p:spPr>
            <a:xfrm>
              <a:off x="3182203" y="193853"/>
              <a:ext cx="119617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Lønn og Lønnsnær HR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164908B-F385-4639-BBCC-42166F0732FD}"/>
                </a:ext>
              </a:extLst>
            </p:cNvPr>
            <p:cNvSpPr txBox="1"/>
            <p:nvPr/>
          </p:nvSpPr>
          <p:spPr>
            <a:xfrm>
              <a:off x="4477029" y="193853"/>
              <a:ext cx="98857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Behov til Betaling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0EF28F6-0611-4954-8B1B-7EAC1E9E7777}"/>
                </a:ext>
              </a:extLst>
            </p:cNvPr>
            <p:cNvSpPr txBox="1"/>
            <p:nvPr/>
          </p:nvSpPr>
          <p:spPr>
            <a:xfrm>
              <a:off x="5552978" y="193853"/>
              <a:ext cx="1447370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Prosjektidé til avslutnin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41F2E79-5BAB-40FE-80B1-615898855684}"/>
                </a:ext>
              </a:extLst>
            </p:cNvPr>
            <p:cNvSpPr txBox="1"/>
            <p:nvPr/>
          </p:nvSpPr>
          <p:spPr>
            <a:xfrm>
              <a:off x="2190685" y="193853"/>
              <a:ext cx="898704" cy="170259"/>
            </a:xfrm>
            <a:prstGeom prst="roundRect">
              <a:avLst/>
            </a:prstGeom>
            <a:solidFill>
              <a:srgbClr val="01509D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 b="1">
                  <a:solidFill>
                    <a:schemeClr val="bg1"/>
                  </a:solidFill>
                  <a:latin typeface="+mj-lt"/>
                </a:rPr>
                <a:t>Lederroller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D84341C-1E46-43AA-9DC7-66410D31CEDB}"/>
                </a:ext>
              </a:extLst>
            </p:cNvPr>
            <p:cNvSpPr txBox="1"/>
            <p:nvPr/>
          </p:nvSpPr>
          <p:spPr>
            <a:xfrm>
              <a:off x="7071992" y="193853"/>
              <a:ext cx="1447370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Øvrige BOTT-prosesser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195C93D-72C4-489C-A86D-0F27B725AD89}"/>
              </a:ext>
            </a:extLst>
          </p:cNvPr>
          <p:cNvGrpSpPr/>
          <p:nvPr/>
        </p:nvGrpSpPr>
        <p:grpSpPr>
          <a:xfrm>
            <a:off x="1304960" y="569854"/>
            <a:ext cx="1953995" cy="800361"/>
            <a:chOff x="4208804" y="1930866"/>
            <a:chExt cx="1776359" cy="727601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7E9DDA3-8837-4BFC-9E28-297AC7110F5B}"/>
                </a:ext>
              </a:extLst>
            </p:cNvPr>
            <p:cNvSpPr txBox="1"/>
            <p:nvPr/>
          </p:nvSpPr>
          <p:spPr>
            <a:xfrm>
              <a:off x="4208804" y="2406650"/>
              <a:ext cx="1776359" cy="251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200">
                  <a:latin typeface="+mj-lt"/>
                </a:rPr>
                <a:t>Personalgodkjenner</a:t>
              </a:r>
            </a:p>
          </p:txBody>
        </p:sp>
        <p:sp>
          <p:nvSpPr>
            <p:cNvPr id="24" name="Freeform 747">
              <a:extLst>
                <a:ext uri="{FF2B5EF4-FFF2-40B4-BE49-F238E27FC236}">
                  <a16:creationId xmlns:a16="http://schemas.microsoft.com/office/drawing/2014/main" id="{78D218C3-F6CB-4B2E-BD51-8D722A28617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66150" y="1930866"/>
              <a:ext cx="461665" cy="461665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120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72446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715E2D5E-BC37-41D4-8196-190D404B98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715E2D5E-BC37-41D4-8196-190D404B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Google Shape;472;p72">
            <a:extLst>
              <a:ext uri="{FF2B5EF4-FFF2-40B4-BE49-F238E27FC236}">
                <a16:creationId xmlns:a16="http://schemas.microsoft.com/office/drawing/2014/main" id="{7161903C-852A-44DF-8EE2-F07C659F5B0D}"/>
              </a:ext>
            </a:extLst>
          </p:cNvPr>
          <p:cNvSpPr/>
          <p:nvPr/>
        </p:nvSpPr>
        <p:spPr>
          <a:xfrm>
            <a:off x="1526926" y="2187098"/>
            <a:ext cx="1726000" cy="247777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96" tIns="91196" rIns="91196" bIns="91196" anchor="ctr" anchorCtr="0">
            <a:noAutofit/>
          </a:bodyPr>
          <a:lstStyle/>
          <a:p>
            <a:pPr marL="0" marR="0" lvl="0" indent="0" algn="l" defTabSz="71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966;p112">
            <a:extLst>
              <a:ext uri="{FF2B5EF4-FFF2-40B4-BE49-F238E27FC236}">
                <a16:creationId xmlns:a16="http://schemas.microsoft.com/office/drawing/2014/main" id="{252BD16A-EA79-40F7-8F0C-D8545B2953B7}"/>
              </a:ext>
            </a:extLst>
          </p:cNvPr>
          <p:cNvSpPr txBox="1"/>
          <p:nvPr/>
        </p:nvSpPr>
        <p:spPr>
          <a:xfrm>
            <a:off x="1642338" y="2190107"/>
            <a:ext cx="1495176" cy="378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40">
              <a:buClr>
                <a:srgbClr val="000000"/>
              </a:buClr>
              <a:defRPr/>
            </a:pPr>
            <a:r>
              <a:rPr lang="nb-NO" sz="1300" b="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Fakultet/Institutt</a:t>
            </a:r>
            <a:endParaRPr sz="1300" b="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47" name="Google Shape;472;p72">
            <a:extLst>
              <a:ext uri="{FF2B5EF4-FFF2-40B4-BE49-F238E27FC236}">
                <a16:creationId xmlns:a16="http://schemas.microsoft.com/office/drawing/2014/main" id="{935AC315-1985-4BB5-9846-16C2383FF09E}"/>
              </a:ext>
            </a:extLst>
          </p:cNvPr>
          <p:cNvSpPr/>
          <p:nvPr/>
        </p:nvSpPr>
        <p:spPr>
          <a:xfrm>
            <a:off x="7906103" y="2187098"/>
            <a:ext cx="1726000" cy="247777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96" tIns="91196" rIns="91196" bIns="91196" anchor="ctr" anchorCtr="0">
            <a:noAutofit/>
          </a:bodyPr>
          <a:lstStyle/>
          <a:p>
            <a:pPr marL="0" marR="0" lvl="0" indent="0" algn="l" defTabSz="71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966;p112">
            <a:extLst>
              <a:ext uri="{FF2B5EF4-FFF2-40B4-BE49-F238E27FC236}">
                <a16:creationId xmlns:a16="http://schemas.microsoft.com/office/drawing/2014/main" id="{7F5A22AB-5B69-4A25-897A-4571E33F9EF0}"/>
              </a:ext>
            </a:extLst>
          </p:cNvPr>
          <p:cNvSpPr txBox="1"/>
          <p:nvPr/>
        </p:nvSpPr>
        <p:spPr>
          <a:xfrm>
            <a:off x="8021515" y="2187098"/>
            <a:ext cx="1495176" cy="378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40">
              <a:buClr>
                <a:srgbClr val="000000"/>
              </a:buClr>
              <a:defRPr/>
            </a:pPr>
            <a:r>
              <a:rPr lang="nb-NO" sz="1300" b="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Fakultet/Institutt</a:t>
            </a:r>
            <a:endParaRPr sz="1300" b="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4EFBA1F-76D8-4049-866A-CDF0C8876339}"/>
              </a:ext>
            </a:extLst>
          </p:cNvPr>
          <p:cNvGrpSpPr/>
          <p:nvPr/>
        </p:nvGrpSpPr>
        <p:grpSpPr>
          <a:xfrm>
            <a:off x="1361100" y="2163527"/>
            <a:ext cx="10289168" cy="2501344"/>
            <a:chOff x="1092150" y="2598671"/>
            <a:chExt cx="10289168" cy="2501344"/>
          </a:xfrm>
        </p:grpSpPr>
        <p:sp>
          <p:nvSpPr>
            <p:cNvPr id="26" name="Google Shape;973;p112">
              <a:extLst>
                <a:ext uri="{FF2B5EF4-FFF2-40B4-BE49-F238E27FC236}">
                  <a16:creationId xmlns:a16="http://schemas.microsoft.com/office/drawing/2014/main" id="{03227FC7-DB14-4B1C-92D8-EED39717371F}"/>
                </a:ext>
              </a:extLst>
            </p:cNvPr>
            <p:cNvSpPr/>
            <p:nvPr/>
          </p:nvSpPr>
          <p:spPr>
            <a:xfrm>
              <a:off x="10076522" y="3523631"/>
              <a:ext cx="1304796" cy="674980"/>
            </a:xfrm>
            <a:prstGeom prst="roundRect">
              <a:avLst>
                <a:gd name="adj" fmla="val 16667"/>
              </a:avLst>
            </a:prstGeom>
            <a:solidFill>
              <a:srgbClr val="EEF2F5"/>
            </a:solidFill>
            <a:ln w="9525" cap="flat" cmpd="sng">
              <a:solidFill>
                <a:srgbClr val="44546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121900" rIns="36000" bIns="121900" anchor="ctr" anchorCtr="0">
              <a:noAutofit/>
            </a:bodyPr>
            <a:lstStyle/>
            <a:p>
              <a:pPr algn="ctr" defTabSz="717164">
                <a:buClr>
                  <a:srgbClr val="000000"/>
                </a:buClr>
                <a:buSzPts val="1300"/>
              </a:pPr>
              <a:r>
                <a:rPr lang="nb-NO" sz="1100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Bilaget registrert i lønnssystemet</a:t>
              </a:r>
            </a:p>
          </p:txBody>
        </p:sp>
        <p:sp>
          <p:nvSpPr>
            <p:cNvPr id="27" name="Google Shape;971;p112">
              <a:extLst>
                <a:ext uri="{FF2B5EF4-FFF2-40B4-BE49-F238E27FC236}">
                  <a16:creationId xmlns:a16="http://schemas.microsoft.com/office/drawing/2014/main" id="{B4D0F314-542E-4A9E-B4E4-E69E6DBC6EAE}"/>
                </a:ext>
              </a:extLst>
            </p:cNvPr>
            <p:cNvSpPr txBox="1"/>
            <p:nvPr/>
          </p:nvSpPr>
          <p:spPr>
            <a:xfrm>
              <a:off x="7748664" y="4305367"/>
              <a:ext cx="1570909" cy="3481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algn="ctr" defTabSz="1219140">
                <a:buClr>
                  <a:srgbClr val="000000"/>
                </a:buClr>
                <a:defRPr/>
              </a:pPr>
              <a:r>
                <a:rPr lang="nb-NO" sz="1200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Vurderer og godkjenner bilag</a:t>
              </a:r>
            </a:p>
          </p:txBody>
        </p:sp>
        <p:cxnSp>
          <p:nvCxnSpPr>
            <p:cNvPr id="28" name="Google Shape;972;p112">
              <a:extLst>
                <a:ext uri="{FF2B5EF4-FFF2-40B4-BE49-F238E27FC236}">
                  <a16:creationId xmlns:a16="http://schemas.microsoft.com/office/drawing/2014/main" id="{939951A4-BABD-49EC-8853-B3389C412305}"/>
                </a:ext>
              </a:extLst>
            </p:cNvPr>
            <p:cNvCxnSpPr>
              <a:cxnSpLocks/>
              <a:stCxn id="35" idx="1"/>
              <a:endCxn id="49" idx="3"/>
            </p:cNvCxnSpPr>
            <p:nvPr/>
          </p:nvCxnSpPr>
          <p:spPr>
            <a:xfrm flipH="1">
              <a:off x="2992941" y="3861122"/>
              <a:ext cx="1317142" cy="7"/>
            </a:xfrm>
            <a:prstGeom prst="straightConnector1">
              <a:avLst/>
            </a:prstGeom>
            <a:noFill/>
            <a:ln w="9525" cap="flat" cmpd="sng">
              <a:solidFill>
                <a:srgbClr val="44546A"/>
              </a:solidFill>
              <a:prstDash val="solid"/>
              <a:round/>
              <a:headEnd type="triangle" w="med" len="med"/>
              <a:tailEnd type="none" w="med" len="med"/>
            </a:ln>
          </p:spPr>
        </p:cxnSp>
        <p:cxnSp>
          <p:nvCxnSpPr>
            <p:cNvPr id="29" name="Google Shape;972;p112">
              <a:extLst>
                <a:ext uri="{FF2B5EF4-FFF2-40B4-BE49-F238E27FC236}">
                  <a16:creationId xmlns:a16="http://schemas.microsoft.com/office/drawing/2014/main" id="{B4DC7A67-F944-4738-9728-A661DC1196CA}"/>
                </a:ext>
              </a:extLst>
            </p:cNvPr>
            <p:cNvCxnSpPr>
              <a:cxnSpLocks/>
              <a:stCxn id="26" idx="1"/>
              <a:endCxn id="47" idx="3"/>
            </p:cNvCxnSpPr>
            <p:nvPr/>
          </p:nvCxnSpPr>
          <p:spPr>
            <a:xfrm flipH="1">
              <a:off x="9372118" y="3861121"/>
              <a:ext cx="704404" cy="8"/>
            </a:xfrm>
            <a:prstGeom prst="straightConnector1">
              <a:avLst/>
            </a:prstGeom>
            <a:noFill/>
            <a:ln w="9525" cap="flat" cmpd="sng">
              <a:solidFill>
                <a:srgbClr val="44546A"/>
              </a:solidFill>
              <a:prstDash val="solid"/>
              <a:round/>
              <a:headEnd type="triangle" w="med" len="med"/>
              <a:tailEnd type="none" w="med" len="med"/>
            </a:ln>
          </p:spPr>
        </p:cxnSp>
        <p:sp>
          <p:nvSpPr>
            <p:cNvPr id="30" name="Freeform 747">
              <a:extLst>
                <a:ext uri="{FF2B5EF4-FFF2-40B4-BE49-F238E27FC236}">
                  <a16:creationId xmlns:a16="http://schemas.microsoft.com/office/drawing/2014/main" id="{5BC12AC6-0E34-48B7-B5E1-5E11885343F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84873" y="3451470"/>
              <a:ext cx="819303" cy="819303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161928" tIns="80964" rIns="161928" bIns="80964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GB" sz="13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Google Shape;966;p112">
              <a:extLst>
                <a:ext uri="{FF2B5EF4-FFF2-40B4-BE49-F238E27FC236}">
                  <a16:creationId xmlns:a16="http://schemas.microsoft.com/office/drawing/2014/main" id="{D93992B1-8758-4288-9EC7-182C517ED894}"/>
                </a:ext>
              </a:extLst>
            </p:cNvPr>
            <p:cNvSpPr txBox="1"/>
            <p:nvPr/>
          </p:nvSpPr>
          <p:spPr>
            <a:xfrm>
              <a:off x="7539076" y="3068271"/>
              <a:ext cx="1990080" cy="404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40">
                <a:buClr>
                  <a:srgbClr val="000000"/>
                </a:buClr>
                <a:defRPr/>
              </a:pPr>
              <a:r>
                <a:rPr lang="nb-NO" sz="1331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Personalgodkjenner</a:t>
              </a:r>
              <a:endParaRPr sz="133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32" name="Freeform 747">
              <a:extLst>
                <a:ext uri="{FF2B5EF4-FFF2-40B4-BE49-F238E27FC236}">
                  <a16:creationId xmlns:a16="http://schemas.microsoft.com/office/drawing/2014/main" id="{E72436C9-29E4-4277-BC04-76F224A7EB4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705945" y="3451470"/>
              <a:ext cx="819303" cy="819303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</p:spPr>
          <p:txBody>
            <a:bodyPr vert="horz" wrap="square" lIns="161928" tIns="80964" rIns="161928" bIns="80964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GB" sz="13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Google Shape;966;p112">
              <a:extLst>
                <a:ext uri="{FF2B5EF4-FFF2-40B4-BE49-F238E27FC236}">
                  <a16:creationId xmlns:a16="http://schemas.microsoft.com/office/drawing/2014/main" id="{C64676B0-432E-44D6-9536-C45CF57B3CF9}"/>
                </a:ext>
              </a:extLst>
            </p:cNvPr>
            <p:cNvSpPr txBox="1"/>
            <p:nvPr/>
          </p:nvSpPr>
          <p:spPr>
            <a:xfrm>
              <a:off x="1092150" y="2974001"/>
              <a:ext cx="1990080" cy="404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40">
                <a:buClr>
                  <a:srgbClr val="000000"/>
                </a:buClr>
                <a:defRPr/>
              </a:pPr>
              <a:r>
                <a:rPr lang="nb-NO" sz="1331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Ansatt</a:t>
              </a:r>
              <a:endParaRPr sz="133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34" name="Google Shape;971;p112">
              <a:extLst>
                <a:ext uri="{FF2B5EF4-FFF2-40B4-BE49-F238E27FC236}">
                  <a16:creationId xmlns:a16="http://schemas.microsoft.com/office/drawing/2014/main" id="{212D3706-37C5-4EBD-8220-EFA42FC7461C}"/>
                </a:ext>
              </a:extLst>
            </p:cNvPr>
            <p:cNvSpPr txBox="1"/>
            <p:nvPr/>
          </p:nvSpPr>
          <p:spPr>
            <a:xfrm>
              <a:off x="1223190" y="4305367"/>
              <a:ext cx="1728000" cy="3750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algn="ctr" defTabSz="1219140">
                <a:buClr>
                  <a:srgbClr val="000000"/>
                </a:buClr>
                <a:defRPr/>
              </a:pPr>
              <a:r>
                <a:rPr lang="nb-NO" sz="1200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Leverer krav</a:t>
              </a:r>
              <a:br>
                <a:rPr lang="nb-NO" sz="1200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</a:br>
              <a:r>
                <a:rPr lang="nb-NO" sz="1200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(permisjoner og andre HR-relaterte bilag)</a:t>
              </a:r>
            </a:p>
          </p:txBody>
        </p:sp>
        <p:sp>
          <p:nvSpPr>
            <p:cNvPr id="35" name="Google Shape;472;p72">
              <a:extLst>
                <a:ext uri="{FF2B5EF4-FFF2-40B4-BE49-F238E27FC236}">
                  <a16:creationId xmlns:a16="http://schemas.microsoft.com/office/drawing/2014/main" id="{D501FEF1-1591-486E-8627-D0B3E18F874F}"/>
                </a:ext>
              </a:extLst>
            </p:cNvPr>
            <p:cNvSpPr/>
            <p:nvPr/>
          </p:nvSpPr>
          <p:spPr>
            <a:xfrm>
              <a:off x="4310083" y="2622228"/>
              <a:ext cx="1579817" cy="247778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196" tIns="91196" rIns="91196" bIns="91196" anchor="ctr" anchorCtr="0">
              <a:noAutofit/>
            </a:bodyPr>
            <a:lstStyle/>
            <a:p>
              <a:pPr marL="0" marR="0" lvl="0" indent="0" algn="l" defTabSz="7171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971;p112">
              <a:extLst>
                <a:ext uri="{FF2B5EF4-FFF2-40B4-BE49-F238E27FC236}">
                  <a16:creationId xmlns:a16="http://schemas.microsoft.com/office/drawing/2014/main" id="{9046B656-A0A5-4D4B-A4FA-857515547356}"/>
                </a:ext>
              </a:extLst>
            </p:cNvPr>
            <p:cNvSpPr txBox="1"/>
            <p:nvPr/>
          </p:nvSpPr>
          <p:spPr>
            <a:xfrm>
              <a:off x="4563515" y="4305368"/>
              <a:ext cx="1072952" cy="3453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algn="ctr" defTabSz="1219140">
                <a:buClr>
                  <a:srgbClr val="000000"/>
                </a:buClr>
                <a:defRPr/>
              </a:pPr>
              <a:r>
                <a:rPr lang="nb-NO" sz="1200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Kontrollerer bilag</a:t>
              </a:r>
            </a:p>
          </p:txBody>
        </p:sp>
        <p:sp>
          <p:nvSpPr>
            <p:cNvPr id="37" name="Google Shape;966;p112">
              <a:extLst>
                <a:ext uri="{FF2B5EF4-FFF2-40B4-BE49-F238E27FC236}">
                  <a16:creationId xmlns:a16="http://schemas.microsoft.com/office/drawing/2014/main" id="{F4F5105C-9BBB-4DC5-8E1C-836EF5372A1E}"/>
                </a:ext>
              </a:extLst>
            </p:cNvPr>
            <p:cNvSpPr txBox="1"/>
            <p:nvPr/>
          </p:nvSpPr>
          <p:spPr>
            <a:xfrm>
              <a:off x="4104951" y="2598671"/>
              <a:ext cx="1990080" cy="404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40">
                <a:buClr>
                  <a:srgbClr val="000000"/>
                </a:buClr>
                <a:defRPr/>
              </a:pPr>
              <a:r>
                <a:rPr lang="nb-NO" sz="1331" b="1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Tjenestesenter</a:t>
              </a:r>
              <a:endParaRPr sz="1331" b="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38" name="Freeform 747">
              <a:extLst>
                <a:ext uri="{FF2B5EF4-FFF2-40B4-BE49-F238E27FC236}">
                  <a16:creationId xmlns:a16="http://schemas.microsoft.com/office/drawing/2014/main" id="{8F020615-599F-491D-9CEA-E21B93A303D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90340" y="3445278"/>
              <a:ext cx="819303" cy="819303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61928" tIns="80964" rIns="161928" bIns="80964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GB" sz="13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Google Shape;966;p112">
              <a:extLst>
                <a:ext uri="{FF2B5EF4-FFF2-40B4-BE49-F238E27FC236}">
                  <a16:creationId xmlns:a16="http://schemas.microsoft.com/office/drawing/2014/main" id="{2B93187E-342B-4C5F-BEA9-F6CF4532AC90}"/>
                </a:ext>
              </a:extLst>
            </p:cNvPr>
            <p:cNvSpPr txBox="1"/>
            <p:nvPr/>
          </p:nvSpPr>
          <p:spPr>
            <a:xfrm>
              <a:off x="4104951" y="3000763"/>
              <a:ext cx="1990080" cy="404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40">
                <a:buClr>
                  <a:srgbClr val="000000"/>
                </a:buClr>
                <a:defRPr/>
              </a:pPr>
              <a:r>
                <a:rPr lang="nb-NO" sz="1331" kern="0">
                  <a:solidFill>
                    <a:srgbClr val="000000"/>
                  </a:solidFill>
                  <a:latin typeface="Poppins"/>
                  <a:ea typeface="Poppins"/>
                  <a:cs typeface="Poppins"/>
                  <a:sym typeface="Poppins"/>
                </a:rPr>
                <a:t>Kontrollør</a:t>
              </a:r>
              <a:endParaRPr sz="133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endParaRPr>
            </a:p>
          </p:txBody>
        </p:sp>
        <p:cxnSp>
          <p:nvCxnSpPr>
            <p:cNvPr id="40" name="Google Shape;972;p112">
              <a:extLst>
                <a:ext uri="{FF2B5EF4-FFF2-40B4-BE49-F238E27FC236}">
                  <a16:creationId xmlns:a16="http://schemas.microsoft.com/office/drawing/2014/main" id="{04ACCED0-A18A-4F29-B747-F838941C0C0D}"/>
                </a:ext>
              </a:extLst>
            </p:cNvPr>
            <p:cNvCxnSpPr>
              <a:cxnSpLocks/>
              <a:stCxn id="47" idx="1"/>
              <a:endCxn id="35" idx="3"/>
            </p:cNvCxnSpPr>
            <p:nvPr/>
          </p:nvCxnSpPr>
          <p:spPr>
            <a:xfrm flipH="1" flipV="1">
              <a:off x="5889900" y="3861122"/>
              <a:ext cx="1756218" cy="7"/>
            </a:xfrm>
            <a:prstGeom prst="straightConnector1">
              <a:avLst/>
            </a:prstGeom>
            <a:noFill/>
            <a:ln w="9525" cap="flat" cmpd="sng">
              <a:solidFill>
                <a:srgbClr val="44546A"/>
              </a:solidFill>
              <a:prstDash val="solid"/>
              <a:round/>
              <a:headEnd type="triangle" w="med" len="med"/>
              <a:tailEnd type="none" w="med" len="med"/>
            </a:ln>
          </p:spPr>
        </p:cxnSp>
      </p:grpSp>
      <p:sp>
        <p:nvSpPr>
          <p:cNvPr id="51" name="Title 23">
            <a:extLst>
              <a:ext uri="{FF2B5EF4-FFF2-40B4-BE49-F238E27FC236}">
                <a16:creationId xmlns:a16="http://schemas.microsoft.com/office/drawing/2014/main" id="{48C8DFEA-5E5C-42EE-A6D2-202221746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693" y="1604057"/>
            <a:ext cx="10289169" cy="427943"/>
          </a:xfrm>
        </p:spPr>
        <p:txBody>
          <a:bodyPr vert="horz"/>
          <a:lstStyle/>
          <a:p>
            <a:r>
              <a:rPr lang="nb-NO" sz="1600"/>
              <a:t>Eksempel: </a:t>
            </a:r>
            <a:r>
              <a:rPr lang="nb-NO" sz="1600" b="0"/>
              <a:t>HR-fly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B65822F-519B-4841-924F-AC2AFDED6120}"/>
              </a:ext>
            </a:extLst>
          </p:cNvPr>
          <p:cNvGrpSpPr/>
          <p:nvPr/>
        </p:nvGrpSpPr>
        <p:grpSpPr>
          <a:xfrm>
            <a:off x="1838732" y="257653"/>
            <a:ext cx="6328677" cy="170259"/>
            <a:chOff x="2190685" y="193853"/>
            <a:chExt cx="6328677" cy="170259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0E7D3FE-1FCA-4087-B6C4-0A6E4A05C93E}"/>
                </a:ext>
              </a:extLst>
            </p:cNvPr>
            <p:cNvSpPr txBox="1"/>
            <p:nvPr/>
          </p:nvSpPr>
          <p:spPr>
            <a:xfrm>
              <a:off x="3182203" y="193853"/>
              <a:ext cx="119617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Lønn og Lønnsnær HR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73D9576-326E-43E1-B39D-775A08D2CB0D}"/>
                </a:ext>
              </a:extLst>
            </p:cNvPr>
            <p:cNvSpPr txBox="1"/>
            <p:nvPr/>
          </p:nvSpPr>
          <p:spPr>
            <a:xfrm>
              <a:off x="4477029" y="193853"/>
              <a:ext cx="98857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Behov til Betaling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26A2676-2C22-48B1-A4B3-418E74037129}"/>
                </a:ext>
              </a:extLst>
            </p:cNvPr>
            <p:cNvSpPr txBox="1"/>
            <p:nvPr/>
          </p:nvSpPr>
          <p:spPr>
            <a:xfrm>
              <a:off x="5552978" y="193853"/>
              <a:ext cx="1447370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Prosjektidé til avslutning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46A1D9C-93FC-428C-B0CC-93294457CDE8}"/>
                </a:ext>
              </a:extLst>
            </p:cNvPr>
            <p:cNvSpPr txBox="1"/>
            <p:nvPr/>
          </p:nvSpPr>
          <p:spPr>
            <a:xfrm>
              <a:off x="2190685" y="193853"/>
              <a:ext cx="898704" cy="170259"/>
            </a:xfrm>
            <a:prstGeom prst="roundRect">
              <a:avLst/>
            </a:prstGeom>
            <a:solidFill>
              <a:srgbClr val="01509D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 b="1">
                  <a:solidFill>
                    <a:schemeClr val="bg1"/>
                  </a:solidFill>
                  <a:latin typeface="+mj-lt"/>
                </a:rPr>
                <a:t>Lederroller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BA4FCAB-1C7C-4C9D-94E5-D83657974420}"/>
                </a:ext>
              </a:extLst>
            </p:cNvPr>
            <p:cNvSpPr txBox="1"/>
            <p:nvPr/>
          </p:nvSpPr>
          <p:spPr>
            <a:xfrm>
              <a:off x="7071992" y="193853"/>
              <a:ext cx="1447370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nb-NO" sz="1000">
                  <a:latin typeface="+mj-lt"/>
                </a:rPr>
                <a:t>Øvrige BOTT-prosess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57069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1BACB1-63C0-42C3-8AA4-92DFF314D20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/>
              <a:t>BOTT ØL INNFØRING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3E37B49-7174-4967-B223-EAEABDC962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6337" y="3645155"/>
            <a:ext cx="10363200" cy="65495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Excel-mal til rolle- og arbeidsorganisering </a:t>
            </a:r>
          </a:p>
        </p:txBody>
      </p:sp>
    </p:spTree>
    <p:extLst>
      <p:ext uri="{BB962C8B-B14F-4D97-AF65-F5344CB8AC3E}">
        <p14:creationId xmlns:p14="http://schemas.microsoft.com/office/powerpoint/2010/main" val="19211470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Rollekartlegging - mal (til distribusjon).xlsx - Excel">
            <a:extLst>
              <a:ext uri="{FF2B5EF4-FFF2-40B4-BE49-F238E27FC236}">
                <a16:creationId xmlns:a16="http://schemas.microsoft.com/office/drawing/2014/main" id="{6F02F55F-18CD-460E-B659-99AE1719B25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193941" y="863600"/>
            <a:ext cx="11804118" cy="4622799"/>
          </a:xfrm>
        </p:spPr>
      </p:pic>
    </p:spTree>
    <p:extLst>
      <p:ext uri="{BB962C8B-B14F-4D97-AF65-F5344CB8AC3E}">
        <p14:creationId xmlns:p14="http://schemas.microsoft.com/office/powerpoint/2010/main" val="4211450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751102"/>
              </p:ext>
            </p:extLst>
          </p:nvPr>
        </p:nvGraphicFramePr>
        <p:xfrm>
          <a:off x="401849" y="1211668"/>
          <a:ext cx="5917928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28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 dirty="0">
                          <a:solidFill>
                            <a:schemeClr val="bg1"/>
                          </a:solidFill>
                        </a:rPr>
                        <a:t>Gjennomføring endringsarbei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247926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BE40C0F-3853-4B6E-AD5B-09671A8A2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384175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362782"/>
              </p:ext>
            </p:extLst>
          </p:nvPr>
        </p:nvGraphicFramePr>
        <p:xfrm>
          <a:off x="401849" y="1211668"/>
          <a:ext cx="5917928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28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3245363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14F4D32-3E81-43C3-A17E-C463A2C7CB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0901809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4A0AF0-E26D-4102-8255-9EC533CE24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997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4A0AF0-E26D-4102-8255-9EC533CE2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B21DFD-813B-48BA-B29A-B7181ACF2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Endringsarbeid: Gjennomfø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26BE9C-A1E7-42F8-A863-0A4B20CFC1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2293487"/>
          </a:xfrm>
        </p:spPr>
        <p:txBody>
          <a:bodyPr/>
          <a:lstStyle/>
          <a:p>
            <a:r>
              <a:rPr lang="nb-NO" sz="2400"/>
              <a:t>Det har vært et sterkt ønske fra innføringslederne om å være tett koblet på utvikling og koordinering knyttet til endringsarbeidet.</a:t>
            </a:r>
          </a:p>
          <a:p>
            <a:r>
              <a:rPr lang="nb-NO" sz="2400"/>
              <a:t>Prosjektet stiller med metodikk, tilnærming og rådgivning, og det konkrete endringsarbeidet gjøres på hvert fakultet/enhet.</a:t>
            </a:r>
          </a:p>
          <a:p>
            <a:r>
              <a:rPr lang="nb-NO" sz="2400"/>
              <a:t>Prosjektet har lagt opp til følgende møtepunkter videre innen endringsarbeidet:</a:t>
            </a:r>
          </a:p>
          <a:p>
            <a:endParaRPr lang="nb-NO" sz="2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441562-34E9-4EFF-B99E-EBE8792F1A51}"/>
              </a:ext>
            </a:extLst>
          </p:cNvPr>
          <p:cNvSpPr/>
          <p:nvPr/>
        </p:nvSpPr>
        <p:spPr>
          <a:xfrm>
            <a:off x="581114" y="3810519"/>
            <a:ext cx="5392396" cy="252955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2400" b="1">
                <a:solidFill>
                  <a:schemeClr val="bg1"/>
                </a:solidFill>
              </a:rPr>
              <a:t>Hver uk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1 time med HR-sjefer og innføringsledere hver mandag for å koordinere, sparre, gi og få informasj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98F832-C1B4-4602-A4F9-5BFDA2157FE5}"/>
              </a:ext>
            </a:extLst>
          </p:cNvPr>
          <p:cNvSpPr/>
          <p:nvPr/>
        </p:nvSpPr>
        <p:spPr>
          <a:xfrm>
            <a:off x="6125910" y="3810518"/>
            <a:ext cx="5392396" cy="252955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2400" b="1">
                <a:solidFill>
                  <a:schemeClr val="bg1"/>
                </a:solidFill>
              </a:rPr>
              <a:t>Annenhver uk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Fellesmøte i utvidet gruppe (HR, ØKO, innføringsledere </a:t>
            </a:r>
            <a:r>
              <a:rPr lang="nb-NO" err="1">
                <a:solidFill>
                  <a:schemeClr val="bg1"/>
                </a:solidFill>
              </a:rPr>
              <a:t>m.fl</a:t>
            </a:r>
            <a:r>
              <a:rPr lang="nb-NO">
                <a:solidFill>
                  <a:schemeClr val="bg1"/>
                </a:solidFill>
              </a:rPr>
              <a:t>) for å koordinere og sikre felles tilnærming</a:t>
            </a:r>
          </a:p>
        </p:txBody>
      </p:sp>
    </p:spTree>
    <p:extLst>
      <p:ext uri="{BB962C8B-B14F-4D97-AF65-F5344CB8AC3E}">
        <p14:creationId xmlns:p14="http://schemas.microsoft.com/office/powerpoint/2010/main" val="16570979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:a16="http://schemas.microsoft.com/office/drawing/2014/main" id="{0B9FD335-E78E-45F6-AC14-C8E02D33AC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136" imgW="592" imgH="591" progId="TCLayout.ActiveDocument.1">
                  <p:embed/>
                </p:oleObj>
              </mc:Choice>
              <mc:Fallback>
                <p:oleObj name="think-cell Slide" r:id="rId136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:a16="http://schemas.microsoft.com/office/drawing/2014/main" id="{0B9FD335-E78E-45F6-AC14-C8E02D33A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Rectangle 155">
            <a:extLst>
              <a:ext uri="{FF2B5EF4-FFF2-40B4-BE49-F238E27FC236}">
                <a16:creationId xmlns:a16="http://schemas.microsoft.com/office/drawing/2014/main" id="{E0B21BBD-6547-4531-AE54-7F7FA87B49E8}"/>
              </a:ext>
            </a:extLst>
          </p:cNvPr>
          <p:cNvSpPr/>
          <p:nvPr/>
        </p:nvSpPr>
        <p:spPr bwMode="gray">
          <a:xfrm>
            <a:off x="2995613" y="1776413"/>
            <a:ext cx="1557338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629DA351-91DB-4B53-992A-BA1048ED8B4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223000" y="841375"/>
            <a:ext cx="1947863" cy="5343525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Plassholder for tekst 2">
            <a:extLst>
              <a:ext uri="{FF2B5EF4-FFF2-40B4-BE49-F238E27FC236}">
                <a16:creationId xmlns:a16="http://schemas.microsoft.com/office/drawing/2014/main" id="{5723EC62-B43F-4180-8D18-6F11DDC75F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325563" y="381000"/>
            <a:ext cx="16700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C4597BD1-ED8C-4312-AD99-FCC543443D8D}" type="datetime'''''''''a''''''''''''''''''''p''''r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apr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Plassholder for tekst 2">
            <a:extLst>
              <a:ext uri="{FF2B5EF4-FFF2-40B4-BE49-F238E27FC236}">
                <a16:creationId xmlns:a16="http://schemas.microsoft.com/office/drawing/2014/main" id="{CB2F46FE-C305-40D6-BFC3-54D9D2DA297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995613" y="381000"/>
            <a:ext cx="17240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C1D7D7E9-53CA-4CED-97DE-7BD3E6882F1B}" type="datetime'''''''''''''''''''m''''''''''''''''''a''''''''''''''i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mai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Plassholder for tekst 2">
            <a:extLst>
              <a:ext uri="{FF2B5EF4-FFF2-40B4-BE49-F238E27FC236}">
                <a16:creationId xmlns:a16="http://schemas.microsoft.com/office/drawing/2014/main" id="{30AC5C4A-AA22-468F-9D6C-C720ADF53D8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19638" y="381000"/>
            <a:ext cx="16700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928F034-C25E-43D3-A7E3-F347B6DE2F39}" type="datetime'''''ju''''n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jun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Plassholder for tekst 2">
            <a:extLst>
              <a:ext uri="{FF2B5EF4-FFF2-40B4-BE49-F238E27FC236}">
                <a16:creationId xmlns:a16="http://schemas.microsoft.com/office/drawing/2014/main" id="{2FE2729B-4D2E-40F5-9F1C-392B14C0A6E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89688" y="381000"/>
            <a:ext cx="17240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10D89FC-A98C-4AA2-8438-B177174B0E4E}" type="datetime'''''''''''''''''''j''''''''''''u''''''''''''l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jul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Plassholder for tekst 2">
            <a:extLst>
              <a:ext uri="{FF2B5EF4-FFF2-40B4-BE49-F238E27FC236}">
                <a16:creationId xmlns:a16="http://schemas.microsoft.com/office/drawing/2014/main" id="{A8227FD8-2E5B-41BB-AE67-427AC328392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13713" y="381000"/>
            <a:ext cx="1725613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25A9889D-1FB6-4294-B61C-696F61304860}" type="datetime'''''''''''''''a''''''u''''''g''''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aug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Plassholder for tekst 2">
            <a:extLst>
              <a:ext uri="{FF2B5EF4-FFF2-40B4-BE49-F238E27FC236}">
                <a16:creationId xmlns:a16="http://schemas.microsoft.com/office/drawing/2014/main" id="{CC529A19-D1E2-463B-8CE9-8A5B7BF247F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39325" y="381000"/>
            <a:ext cx="16700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0175B81-AFB9-4335-8E66-19B686E22423}" type="datetime'''''''''''se''''''''''''''''''''''''''''''''''''''p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sep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54" name="Plassholder for tekst 2">
            <a:extLst>
              <a:ext uri="{FF2B5EF4-FFF2-40B4-BE49-F238E27FC236}">
                <a16:creationId xmlns:a16="http://schemas.microsoft.com/office/drawing/2014/main" id="{4435483E-7B7B-4DB2-B5E7-F780CD9B0DA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509375" y="381000"/>
            <a:ext cx="33337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6663264D-13A8-4F1A-B684-7FE2E25D98A8}" type="datetime'''o''k''''''''t''''''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okt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Plassholder for tekst 2">
            <a:extLst>
              <a:ext uri="{FF2B5EF4-FFF2-40B4-BE49-F238E27FC236}">
                <a16:creationId xmlns:a16="http://schemas.microsoft.com/office/drawing/2014/main" id="{487C2974-1D88-44C4-B002-7105507CB27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25563" y="611188"/>
            <a:ext cx="2222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A3F71A05-148E-4DFC-8A3D-E70E244CE7E9}" type="datetime'''''''''''''''''''1''''''''''''''''''''''''3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3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Plassholder for tekst 2">
            <a:extLst>
              <a:ext uri="{FF2B5EF4-FFF2-40B4-BE49-F238E27FC236}">
                <a16:creationId xmlns:a16="http://schemas.microsoft.com/office/drawing/2014/main" id="{CCF6D864-7C75-4BE7-AA01-B716095974C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47813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1DCA1694-AA95-46C7-8731-6A2BD6A93473}" type="datetime'''''''''''''''''''''''''''''''''''''''''''''''1''''''''''''4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4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Plassholder for tekst 2">
            <a:extLst>
              <a:ext uri="{FF2B5EF4-FFF2-40B4-BE49-F238E27FC236}">
                <a16:creationId xmlns:a16="http://schemas.microsoft.com/office/drawing/2014/main" id="{8835118D-2CD5-43A7-B7E6-EBD9FC28974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938338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3805CD18-57E4-4CB1-8D11-9390C9198633}" type="datetime'''''''''''1''''''''''''''5''''''''''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5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Plassholder for tekst 2">
            <a:extLst>
              <a:ext uri="{FF2B5EF4-FFF2-40B4-BE49-F238E27FC236}">
                <a16:creationId xmlns:a16="http://schemas.microsoft.com/office/drawing/2014/main" id="{F4F78C93-C372-441B-965E-17DB140DC28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327275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C089240-CDAA-4AFA-AE48-BFFF9784A4B6}" type="datetime'''''''1''''''''''''''''''''''''''''''''''''''''''''''6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6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Plassholder for tekst 2">
            <a:extLst>
              <a:ext uri="{FF2B5EF4-FFF2-40B4-BE49-F238E27FC236}">
                <a16:creationId xmlns:a16="http://schemas.microsoft.com/office/drawing/2014/main" id="{6970DF46-CB1F-4D5B-A0B1-EF70A3E556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716213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E9AB128-E0EC-422D-8A7A-DE1E5A0EA050}" type="datetime'1''''''''''''''''''''''''''''''''''''''7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7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Plassholder for tekst 2">
            <a:extLst>
              <a:ext uri="{FF2B5EF4-FFF2-40B4-BE49-F238E27FC236}">
                <a16:creationId xmlns:a16="http://schemas.microsoft.com/office/drawing/2014/main" id="{B3AAF493-240D-4E92-A953-4562CFC3ED0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06738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6E5700A4-49BC-49A9-8575-65453A3095A9}" type="datetime'''''''''''18''''''''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8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Plassholder for tekst 2">
            <a:extLst>
              <a:ext uri="{FF2B5EF4-FFF2-40B4-BE49-F238E27FC236}">
                <a16:creationId xmlns:a16="http://schemas.microsoft.com/office/drawing/2014/main" id="{D0C155B9-858A-4612-87A2-F4962A7AA94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95675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DA1BEA-BEFD-48A9-854E-AB524CAD400A}" type="datetime'''1''''''''''''''''''''''''9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9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Plassholder for tekst 2">
            <a:extLst>
              <a:ext uri="{FF2B5EF4-FFF2-40B4-BE49-F238E27FC236}">
                <a16:creationId xmlns:a16="http://schemas.microsoft.com/office/drawing/2014/main" id="{45CD5A22-75CA-40E9-8CE9-A8CEA7E953D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884613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8600958-6335-44AB-8087-9017AC7BB70A}" type="datetime'''''''''''2''''''''0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0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Plassholder for tekst 2">
            <a:extLst>
              <a:ext uri="{FF2B5EF4-FFF2-40B4-BE49-F238E27FC236}">
                <a16:creationId xmlns:a16="http://schemas.microsoft.com/office/drawing/2014/main" id="{3AC65644-0F94-4399-BB5E-F5553EE178F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275138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5A4B4D7-F9AD-4F2C-9CCA-C27FFD9D0802}" type="datetime'''''2''''''''''''''''1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1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Plassholder for tekst 2">
            <a:extLst>
              <a:ext uri="{FF2B5EF4-FFF2-40B4-BE49-F238E27FC236}">
                <a16:creationId xmlns:a16="http://schemas.microsoft.com/office/drawing/2014/main" id="{6FE0DBE9-77CF-40EE-9608-26F09926CB1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664075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65C368F9-BAFA-4837-B266-72A7168769AF}" type="datetime'''''''''''2''''''''''''''''''''''''''''2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2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Plassholder for tekst 2">
            <a:extLst>
              <a:ext uri="{FF2B5EF4-FFF2-40B4-BE49-F238E27FC236}">
                <a16:creationId xmlns:a16="http://schemas.microsoft.com/office/drawing/2014/main" id="{59E85544-B240-49E7-86D9-FF488F9E77A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054600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229D41C6-22F3-4A70-B114-CF7EB0937A7E}" type="datetime'''''''2''''''''''''3''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3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Plassholder for tekst 2">
            <a:extLst>
              <a:ext uri="{FF2B5EF4-FFF2-40B4-BE49-F238E27FC236}">
                <a16:creationId xmlns:a16="http://schemas.microsoft.com/office/drawing/2014/main" id="{C97FDD03-8B11-4EC4-A60E-01D80B5AC11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443538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B86EE28-B4CE-496B-832E-0FC33E0A47C9}" type="datetime'''''''''''2''''''''''''''''''''''''''''''4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4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Plassholder for tekst 2">
            <a:extLst>
              <a:ext uri="{FF2B5EF4-FFF2-40B4-BE49-F238E27FC236}">
                <a16:creationId xmlns:a16="http://schemas.microsoft.com/office/drawing/2014/main" id="{C08CE387-0FA0-4C91-A4B0-4F0D30C266F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832475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78BE77E-A011-414E-BB1F-496E4709C6DD}" type="datetime'''''''''''''''''''''''''2''''''''5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5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Plassholder for tekst 2">
            <a:extLst>
              <a:ext uri="{FF2B5EF4-FFF2-40B4-BE49-F238E27FC236}">
                <a16:creationId xmlns:a16="http://schemas.microsoft.com/office/drawing/2014/main" id="{4E9A2E60-7444-4B75-A59F-A3F5ABD3EFD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23000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669A184C-C389-4FA7-AD62-2CE97942C380}" type="datetime'''''''''''''''''''''''''''''''''2''''6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6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Plassholder for tekst 2">
            <a:extLst>
              <a:ext uri="{FF2B5EF4-FFF2-40B4-BE49-F238E27FC236}">
                <a16:creationId xmlns:a16="http://schemas.microsoft.com/office/drawing/2014/main" id="{B1242A70-4DC9-4152-8204-6DB11CF71A9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11938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D69AE15-911C-469C-9B03-B3D035FF6DBF}" type="datetime'''2''''''''''''''''''''''''''''''''''7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7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Plassholder for tekst 2">
            <a:extLst>
              <a:ext uri="{FF2B5EF4-FFF2-40B4-BE49-F238E27FC236}">
                <a16:creationId xmlns:a16="http://schemas.microsoft.com/office/drawing/2014/main" id="{6BF2135B-F3A4-4CE7-9924-FECD501EC4B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000875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EDC2D597-AD52-44A1-B2E9-8E4C6B3E8244}" type="datetime'''''''''''''''''''''''''''''''''2''''''''''''''8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8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Plassholder for tekst 2">
            <a:extLst>
              <a:ext uri="{FF2B5EF4-FFF2-40B4-BE49-F238E27FC236}">
                <a16:creationId xmlns:a16="http://schemas.microsoft.com/office/drawing/2014/main" id="{3A37450B-E41F-4B87-8DA2-75A85BAE616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391400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640AAE7-4B4F-4ADB-AE1A-91D5CF0B373E}" type="datetime'''''''''''2''''''''''''''''''9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9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Plassholder for tekst 2">
            <a:extLst>
              <a:ext uri="{FF2B5EF4-FFF2-40B4-BE49-F238E27FC236}">
                <a16:creationId xmlns:a16="http://schemas.microsoft.com/office/drawing/2014/main" id="{C4A28C7A-94F1-4183-80A6-A0323D670E3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80338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E24E3608-1D75-4B40-9B7A-FFFD67B5A773}" type="datetime'''''''''''''''''''''''''''''''''''''''''''''''3''''''''0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0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Plassholder for tekst 2">
            <a:extLst>
              <a:ext uri="{FF2B5EF4-FFF2-40B4-BE49-F238E27FC236}">
                <a16:creationId xmlns:a16="http://schemas.microsoft.com/office/drawing/2014/main" id="{E118305C-E967-4015-B531-43366932D34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170863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7FAEAB6-8034-4C09-B31D-F4A77995FB62}" type="datetime'''3''''''''''''''''''''''1''''''''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1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Plassholder for tekst 2">
            <a:extLst>
              <a:ext uri="{FF2B5EF4-FFF2-40B4-BE49-F238E27FC236}">
                <a16:creationId xmlns:a16="http://schemas.microsoft.com/office/drawing/2014/main" id="{DEC6696F-037B-4FB1-9A06-A9A7886B94D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559800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B04A1792-D85A-4E5B-9B37-5233C29456A9}" type="datetime'''''''''''''''''''''''3''2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2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Plassholder for tekst 2">
            <a:extLst>
              <a:ext uri="{FF2B5EF4-FFF2-40B4-BE49-F238E27FC236}">
                <a16:creationId xmlns:a16="http://schemas.microsoft.com/office/drawing/2014/main" id="{F6638261-88F9-46CF-98DD-83DAD7DDF76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948738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AEB6080-FC54-454D-97A6-2C7EE255DE4A}" type="datetime'''''''''''''''3''''''''''''''3''''''''''''''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3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Plassholder for tekst 2">
            <a:extLst>
              <a:ext uri="{FF2B5EF4-FFF2-40B4-BE49-F238E27FC236}">
                <a16:creationId xmlns:a16="http://schemas.microsoft.com/office/drawing/2014/main" id="{DE69CFDB-F777-4F20-BA52-38C4448924F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339263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BA23B266-714A-481E-8114-29519A62C96C}" type="datetime'''''''''''''3''4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4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Plassholder for tekst 2">
            <a:extLst>
              <a:ext uri="{FF2B5EF4-FFF2-40B4-BE49-F238E27FC236}">
                <a16:creationId xmlns:a16="http://schemas.microsoft.com/office/drawing/2014/main" id="{EE96E8CD-61AE-422E-B01A-F4D93E5576B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728200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082B1E0-49BD-42C3-9020-1C5E518F4920}" type="datetime'''''''''''''''''''''''''''35''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5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Plassholder for tekst 2">
            <a:extLst>
              <a:ext uri="{FF2B5EF4-FFF2-40B4-BE49-F238E27FC236}">
                <a16:creationId xmlns:a16="http://schemas.microsoft.com/office/drawing/2014/main" id="{6D98C0C3-D92F-4825-AF66-EE43214C9A3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117138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1C6905BD-2087-4EF7-B182-59DBD22557F6}" type="datetime'''''''''''''''''''''''''''''''''''''3''''''''''''6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6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5" name="Plassholder for tekst 2">
            <a:extLst>
              <a:ext uri="{FF2B5EF4-FFF2-40B4-BE49-F238E27FC236}">
                <a16:creationId xmlns:a16="http://schemas.microsoft.com/office/drawing/2014/main" id="{7F0EFAB5-9EC4-46E4-AC6C-96D34A07860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507663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1DE004CB-5797-4098-86A5-F14FB63F09AD}" type="datetime'''''''''''''''''''''3''''''''''''''''''''''''''''7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7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Plassholder for tekst 2">
            <a:extLst>
              <a:ext uri="{FF2B5EF4-FFF2-40B4-BE49-F238E27FC236}">
                <a16:creationId xmlns:a16="http://schemas.microsoft.com/office/drawing/2014/main" id="{BA845D8E-FBDE-4E52-9BCC-D6B78D7ACAE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896600" y="611188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46B2E9D6-9873-45CF-8DFE-84656622CD3A}" type="datetime'''3''''''''''''''''''''8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8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Plassholder for tekst 2">
            <a:extLst>
              <a:ext uri="{FF2B5EF4-FFF2-40B4-BE49-F238E27FC236}">
                <a16:creationId xmlns:a16="http://schemas.microsoft.com/office/drawing/2014/main" id="{5D0B322C-D2E9-4040-AAF1-851867FDE5E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1285538" y="611188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657F9EB-09C6-4063-93E8-755C877EF120}" type="datetime'''''''''3''''9''''''''''''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9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52" name="Plassholder for tekst 2">
            <a:extLst>
              <a:ext uri="{FF2B5EF4-FFF2-40B4-BE49-F238E27FC236}">
                <a16:creationId xmlns:a16="http://schemas.microsoft.com/office/drawing/2014/main" id="{F2EA7DDD-B073-4528-9A24-02EB332B2D7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1676063" y="611188"/>
            <a:ext cx="16668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1BFD92B-235A-4AEC-9A0F-BA9DDA3DE94E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1325563" y="841375"/>
            <a:ext cx="0" cy="53435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202B61F-6B3D-4FE0-A5DC-8C3CACD8E716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11842750" y="841375"/>
            <a:ext cx="0" cy="53435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66A18421-3067-4243-BADE-C9C352122394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11509375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B43997B-267E-46D0-9B29-BCC830011275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7196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D2FF495-0899-4B68-85E9-E0D26EF01651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638968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36E5CF6-C162-419D-81BC-8661EF1B421F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85738" y="841375"/>
            <a:ext cx="0" cy="53435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177392E-E18D-4AE5-8928-8488ECE32568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299561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654E3532-DB76-44C8-9AB1-86B8D1D6CBC8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9839325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A1DAE5C-B5E0-41D7-96D6-89275DF030AF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11371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0F794A6-D5F6-4EB0-A109-32D0556E856F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42751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66F0576-5E60-46AA-9296-0EC9168631C6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4664075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C055A6A-AB52-4428-B83E-645BD93474E8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5054600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F0163AD-7007-425C-A8C6-44A3CA8C66F2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3495675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AF142ED-499B-4739-9583-374088A6298A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832475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3E74F2D-8DBC-4769-8A7B-D456A4B2C418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6223000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663F319-EA31-47E4-8261-9BE536FE31FB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7391400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671F0B43-FFFF-4B82-8233-594DC749D102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77803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7337DFFC-E2EC-459F-AAD4-2DA70586B693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817086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3A7CA739-FB2C-4DAD-84BB-D712603B623D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101171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0FD8D50E-E3F1-4945-AB7A-9B8EF106D778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8559800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B6097CE7-6EDE-439F-8C58-9BB40EBE961C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89487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1A5C1B4D-9395-4EE9-92CC-520487FFC042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167606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7A1F870-23C7-4659-8E72-323E0E8B3014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933926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6A552A53-DBCE-4794-A8EA-0B4EA8F4C703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9728200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8280C36D-FE5D-4224-B8ED-282AA61D17CF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050766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61420AA-1F9C-48EB-B3E2-D4E4100B27C6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0896600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E2048EC4-7A5A-48EB-8C5E-95D9CDCB3C1F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12855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7463519D-8AB8-4E1F-8773-309572B5AE13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7000875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9F726768-8E93-4D66-A132-10A7FFA59EDB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66119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25CE5EA-DCEA-449B-BA11-2D82CBEF44F2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4435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47E6F3B-8803-4D64-8918-27E59C8FB187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54781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068A3E0-0AC5-41F7-8D88-31E5A23F5DA6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9383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EE22D69-7392-42EB-8F73-2D684A80BEDD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2327275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378AE9A5-D8B6-4B2A-8889-E34907D63E1C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271621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F70B89F-E409-4C35-8A75-C288B299B2E6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3106738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2341E08-FA5A-47E5-902D-C7F3E886693B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3884613" y="841375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A379F7F-757C-438B-8125-AEFDC16F3D72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185738" y="1266825"/>
            <a:ext cx="1165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372B51D-D21D-4817-935C-A1B3E0EBA5E9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85738" y="5067300"/>
            <a:ext cx="1165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49C6BAF-5634-4E18-8AE5-A55FC794B2A1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185738" y="6184900"/>
            <a:ext cx="116570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98D9FA6-62F4-42EA-B37F-67E77456188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185738" y="841375"/>
            <a:ext cx="116570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A9E1A09-7C15-4C70-A97A-E8D647DEFF48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6223000" y="2787650"/>
            <a:ext cx="1947863" cy="793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F60B09B9-1C28-41DE-84DA-17930784B640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11063288" y="5227638"/>
            <a:ext cx="22225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92E7BA5C-8AA7-462C-B502-BF5507622432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9004300" y="5227638"/>
            <a:ext cx="39052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4D7585EA-8E1E-4610-AE0D-DCF89C63385A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8170863" y="2787650"/>
            <a:ext cx="77787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1CB9AB62-4C62-4F4B-884E-140A947E8052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4775200" y="5227638"/>
            <a:ext cx="334963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6DD9D158-8179-4712-85F2-616ED248B310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8948738" y="3125788"/>
            <a:ext cx="1112838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7A1BF1-FE29-40F2-B89C-EEF250D653CF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2716213" y="1776413"/>
            <a:ext cx="1112838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975B3EF4-DBC9-4494-BBC5-97C4CAFC7496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3662363" y="5227638"/>
            <a:ext cx="39052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6" name="Arrow: Right 285">
            <a:extLst>
              <a:ext uri="{FF2B5EF4-FFF2-40B4-BE49-F238E27FC236}">
                <a16:creationId xmlns:a16="http://schemas.microsoft.com/office/drawing/2014/main" id="{287CDE3C-7E71-4F4C-9D61-E6DBAF283FEE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11731625" y="4773613"/>
            <a:ext cx="2127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0" name="Arrow: Right 269">
            <a:extLst>
              <a:ext uri="{FF2B5EF4-FFF2-40B4-BE49-F238E27FC236}">
                <a16:creationId xmlns:a16="http://schemas.microsoft.com/office/drawing/2014/main" id="{6E48785C-B4DF-4541-BBD7-E2E49386C5B5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11509375" y="4435475"/>
            <a:ext cx="43497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5341E21-93A4-4198-8589-99D50D24973B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5332413" y="5748338"/>
            <a:ext cx="44450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934045D7-3733-4697-80DF-01913C596526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10674350" y="3800475"/>
            <a:ext cx="611188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6880CD9-7931-4E68-BE88-62A59E54B0E3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4719638" y="2451100"/>
            <a:ext cx="779463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F42C67DB-A54F-4764-94AE-1D733E2309E9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2995613" y="2112963"/>
            <a:ext cx="1557338" cy="79375"/>
          </a:xfrm>
          <a:prstGeom prst="rect">
            <a:avLst/>
          </a:prstGeom>
          <a:solidFill>
            <a:srgbClr val="000000"/>
          </a:solidFill>
          <a:ln w="19050" algn="ctr">
            <a:solidFill>
              <a:srgbClr val="0000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2073894A-D916-4F9B-9FC4-944DD5E4D894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10006013" y="3463925"/>
            <a:ext cx="61277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1D05E10A-4AE1-4BBF-AD71-BC8A3EDA5273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2382838" y="1438275"/>
            <a:ext cx="61277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A9F818-747C-43D7-9371-18187E1C7B76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5610225" y="2787650"/>
            <a:ext cx="61277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E38BC49F-891D-4981-94FD-53ABCAA83E97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11398250" y="4138613"/>
            <a:ext cx="11112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4" name="Isosceles Triangle 273">
            <a:extLst>
              <a:ext uri="{FF2B5EF4-FFF2-40B4-BE49-F238E27FC236}">
                <a16:creationId xmlns:a16="http://schemas.microsoft.com/office/drawing/2014/main" id="{CB1706BD-853D-4509-971D-C85136F38E49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 rot="10800000">
            <a:off x="7089775" y="63293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3" name="Right Bracket 272">
            <a:extLst>
              <a:ext uri="{FF2B5EF4-FFF2-40B4-BE49-F238E27FC236}">
                <a16:creationId xmlns:a16="http://schemas.microsoft.com/office/drawing/2014/main" id="{C8FAD88C-C256-48D6-B405-F95AF22BFA12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 rot="5400000">
            <a:off x="7142163" y="5300663"/>
            <a:ext cx="107950" cy="194786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Isosceles Triangle 141">
            <a:extLst>
              <a:ext uri="{FF2B5EF4-FFF2-40B4-BE49-F238E27FC236}">
                <a16:creationId xmlns:a16="http://schemas.microsoft.com/office/drawing/2014/main" id="{38B8C3AE-80E6-4B02-8855-4CD660E458A6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11396663" y="984250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3" name="Isosceles Triangle 92">
            <a:extLst>
              <a:ext uri="{FF2B5EF4-FFF2-40B4-BE49-F238E27FC236}">
                <a16:creationId xmlns:a16="http://schemas.microsoft.com/office/drawing/2014/main" id="{5C900E54-A8CA-4776-8445-46239ACEE69E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4662488" y="984250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A38BE91A-F3BD-4418-B371-A6FB0F1A3966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4495800" y="984250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EAD518C0-1E59-4621-8C91-4BA735E3C91C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2938463" y="984250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Isosceles Triangle 70">
            <a:extLst>
              <a:ext uri="{FF2B5EF4-FFF2-40B4-BE49-F238E27FC236}">
                <a16:creationId xmlns:a16="http://schemas.microsoft.com/office/drawing/2014/main" id="{C9564DDC-6D04-4804-91A9-F49B3A8E9622}"/>
              </a:ext>
            </a:extLst>
          </p:cNvPr>
          <p:cNvSpPr/>
          <p:nvPr>
            <p:custDataLst>
              <p:tags r:id="rId103"/>
            </p:custDataLst>
          </p:nvPr>
        </p:nvSpPr>
        <p:spPr bwMode="gray">
          <a:xfrm>
            <a:off x="2659063" y="984250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271" name="Plassholder for tekst 2">
            <a:extLst>
              <a:ext uri="{FF2B5EF4-FFF2-40B4-BE49-F238E27FC236}">
                <a16:creationId xmlns:a16="http://schemas.microsoft.com/office/drawing/2014/main" id="{3CFB6881-7D9B-49F7-B104-941FC730A66D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6824663" y="6454775"/>
            <a:ext cx="74295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mmerferie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15" name="Plassholder for tekst 2">
            <a:extLst>
              <a:ext uri="{FF2B5EF4-FFF2-40B4-BE49-F238E27FC236}">
                <a16:creationId xmlns:a16="http://schemas.microsoft.com/office/drawing/2014/main" id="{2ABD4EE6-F559-4570-997D-855CC3058129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5545138" y="2400300"/>
            <a:ext cx="2435225" cy="18256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ormasjonsdeling og forankring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139" name="Plassholder for tekst 2">
            <a:extLst>
              <a:ext uri="{FF2B5EF4-FFF2-40B4-BE49-F238E27FC236}">
                <a16:creationId xmlns:a16="http://schemas.microsoft.com/office/drawing/2014/main" id="{5D5CBC3F-8B78-4CDC-80AE-D30E7A096802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4181475" y="1120775"/>
            <a:ext cx="744538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lde inn </a:t>
            </a:r>
            <a:r>
              <a:rPr kumimoji="0" lang="nb-NO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.all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il opplæring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168" name="Plassholder for tekst 2">
            <a:extLst>
              <a:ext uri="{FF2B5EF4-FFF2-40B4-BE49-F238E27FC236}">
                <a16:creationId xmlns:a16="http://schemas.microsoft.com/office/drawing/2014/main" id="{16BFBA8E-4451-4A7F-8237-7A45D8B35A59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8504237" y="3413125"/>
            <a:ext cx="1455738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mstillingssamtaler</a:t>
            </a:r>
          </a:p>
        </p:txBody>
      </p:sp>
      <p:sp useBgFill="1">
        <p:nvSpPr>
          <p:cNvPr id="91" name="Plassholder for tekst 2">
            <a:extLst>
              <a:ext uri="{FF2B5EF4-FFF2-40B4-BE49-F238E27FC236}">
                <a16:creationId xmlns:a16="http://schemas.microsoft.com/office/drawing/2014/main" id="{62CB82F5-6942-4D02-A9B5-2AB5287B407D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4818063" y="858838"/>
            <a:ext cx="1106488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AAC8549-EDB9-4DDA-BA5D-2D1376145F19}" type="datetime'0''''1''''.''''''0''''''''''''''6''''.''''''20''''21'''">
              <a:rPr kumimoji="0" lang="nb-NO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1.06.2021</a:t>
            </a:fld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8: Arbeidsorganisering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01.01.2021 fastsat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Plassholder for tekst 2">
            <a:extLst>
              <a:ext uri="{FF2B5EF4-FFF2-40B4-BE49-F238E27FC236}">
                <a16:creationId xmlns:a16="http://schemas.microsoft.com/office/drawing/2014/main" id="{907BD047-AEF8-4762-8E6F-6A69E3C123D0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246063" y="957263"/>
            <a:ext cx="614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lepeler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64" name="Plassholder for tekst 2">
            <a:extLst>
              <a:ext uri="{FF2B5EF4-FFF2-40B4-BE49-F238E27FC236}">
                <a16:creationId xmlns:a16="http://schemas.microsoft.com/office/drawing/2014/main" id="{6F8DEAF0-DF90-443F-846C-9B7B9CB9D0EA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9636125" y="3749675"/>
            <a:ext cx="992188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nplassering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Plassholder for tekst 2">
            <a:extLst>
              <a:ext uri="{FF2B5EF4-FFF2-40B4-BE49-F238E27FC236}">
                <a16:creationId xmlns:a16="http://schemas.microsoft.com/office/drawing/2014/main" id="{FE2B844B-A1CF-45F1-934B-9941AFBE7EAB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246063" y="5703888"/>
            <a:ext cx="97631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mell</a:t>
            </a:r>
            <a:b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handling N1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80" name="Plassholder for tekst 2">
            <a:extLst>
              <a:ext uri="{FF2B5EF4-FFF2-40B4-BE49-F238E27FC236}">
                <a16:creationId xmlns:a16="http://schemas.microsoft.com/office/drawing/2014/main" id="{602E7C1C-1235-4D3B-BA88-5B5297B3B333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10536239" y="4087813"/>
            <a:ext cx="815975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nmelding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68" name="Plassholder for tekst 2">
            <a:extLst>
              <a:ext uri="{FF2B5EF4-FFF2-40B4-BE49-F238E27FC236}">
                <a16:creationId xmlns:a16="http://schemas.microsoft.com/office/drawing/2014/main" id="{76EAAF48-0763-4D8C-A164-EBAF5A091D5F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10690225" y="4424363"/>
            <a:ext cx="773113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pplæring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144" name="Plassholder for tekst 2">
            <a:extLst>
              <a:ext uri="{FF2B5EF4-FFF2-40B4-BE49-F238E27FC236}">
                <a16:creationId xmlns:a16="http://schemas.microsoft.com/office/drawing/2014/main" id="{A2BA20DD-7E1A-43AC-A383-4B0A61BFB4E6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5287963" y="5854700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SAM</a:t>
            </a:r>
          </a:p>
        </p:txBody>
      </p:sp>
      <p:sp useBgFill="1">
        <p:nvSpPr>
          <p:cNvPr id="284" name="Plassholder for tekst 2">
            <a:extLst>
              <a:ext uri="{FF2B5EF4-FFF2-40B4-BE49-F238E27FC236}">
                <a16:creationId xmlns:a16="http://schemas.microsoft.com/office/drawing/2014/main" id="{E383EB73-F342-4680-BD8D-26516ECAB50E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9953625" y="4762500"/>
            <a:ext cx="1731963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dringsgjennomføring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140" name="Plassholder for tekst 2">
            <a:extLst>
              <a:ext uri="{FF2B5EF4-FFF2-40B4-BE49-F238E27FC236}">
                <a16:creationId xmlns:a16="http://schemas.microsoft.com/office/drawing/2014/main" id="{FC413481-BF39-445C-A102-E1D5E2EE1F7D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9885363" y="858838"/>
            <a:ext cx="147002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CB61E386-DAA2-40F2-8DFD-BC9BFE7647C5}" type="datetime'''''30.''''''0''''''9''''''''''.''''''2''''''''''0''2''''''1'">
              <a:rPr kumimoji="0" lang="nb-NO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0.09.2021</a:t>
            </a:fld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10: Endring i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beidsorganisering gjennomfør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72" name="Plassholder for tekst 2">
            <a:extLst>
              <a:ext uri="{FF2B5EF4-FFF2-40B4-BE49-F238E27FC236}">
                <a16:creationId xmlns:a16="http://schemas.microsoft.com/office/drawing/2014/main" id="{78AEE99B-8568-4B97-A13D-B9AD63993B63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1370013" y="858838"/>
            <a:ext cx="124777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475EA3D2-D800-435B-B196-9E33DF92EF32}" type="datetime'26''.''''0''4''.2''''0''''''''''2''''1'''''''''''">
              <a:rPr kumimoji="0" lang="nb-NO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6.04.2021</a:t>
            </a:fld>
            <a:b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3: Ny arbeidsorganisering</a:t>
            </a:r>
            <a:b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besluttet</a:t>
            </a:r>
          </a:p>
        </p:txBody>
      </p:sp>
      <p:sp useBgFill="1">
        <p:nvSpPr>
          <p:cNvPr id="159" name="Plassholder for tekst 2">
            <a:extLst>
              <a:ext uri="{FF2B5EF4-FFF2-40B4-BE49-F238E27FC236}">
                <a16:creationId xmlns:a16="http://schemas.microsoft.com/office/drawing/2014/main" id="{CC3A0986-8DAA-4BC9-8C91-7417CE3FF999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3875088" y="1725613"/>
            <a:ext cx="22606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Kvalitetssikring av informasjon</a:t>
            </a:r>
          </a:p>
        </p:txBody>
      </p:sp>
      <p:sp useBgFill="1">
        <p:nvSpPr>
          <p:cNvPr id="241" name="Plassholder for tekst 2">
            <a:extLst>
              <a:ext uri="{FF2B5EF4-FFF2-40B4-BE49-F238E27FC236}">
                <a16:creationId xmlns:a16="http://schemas.microsoft.com/office/drawing/2014/main" id="{A4EC42CE-FE7D-4AAF-8F33-B37A875C333D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4675188" y="5334000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187" name="Plassholder for tekst 2">
            <a:extLst>
              <a:ext uri="{FF2B5EF4-FFF2-40B4-BE49-F238E27FC236}">
                <a16:creationId xmlns:a16="http://schemas.microsoft.com/office/drawing/2014/main" id="{94B68773-168B-4B7A-AD0C-CF44579FF1B1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3041651" y="1387475"/>
            <a:ext cx="1273175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taljplanlegging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45" name="Plassholder for tekst 2">
            <a:extLst>
              <a:ext uri="{FF2B5EF4-FFF2-40B4-BE49-F238E27FC236}">
                <a16:creationId xmlns:a16="http://schemas.microsoft.com/office/drawing/2014/main" id="{59DC134A-B8D1-4638-B990-621A0AADCFE5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8932863" y="5334000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19" name="Plassholder for tekst 2">
            <a:extLst>
              <a:ext uri="{FF2B5EF4-FFF2-40B4-BE49-F238E27FC236}">
                <a16:creationId xmlns:a16="http://schemas.microsoft.com/office/drawing/2014/main" id="{13DB18F6-F373-425C-9764-17AE336C4AD9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8994775" y="2736850"/>
            <a:ext cx="1735138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ompetansekartlegging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49" name="Plassholder for tekst 2">
            <a:extLst>
              <a:ext uri="{FF2B5EF4-FFF2-40B4-BE49-F238E27FC236}">
                <a16:creationId xmlns:a16="http://schemas.microsoft.com/office/drawing/2014/main" id="{8E03EBE5-5361-4E66-AB6F-781275E5FFA3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10907713" y="5334000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9BAAF0CD-9E59-4FAC-875E-B0AAC69AAD95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246063" y="635000"/>
            <a:ext cx="6000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440878D-0C0F-44F1-8C60-608F94DB8136}" type="datetime'''''''''''''''''Ak''''t''''''''''''''i''''''vite''''''t'">
              <a:rPr kumimoji="0" lang="nb-NO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Aktivitet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Plassholder for tekst 2">
            <a:extLst>
              <a:ext uri="{FF2B5EF4-FFF2-40B4-BE49-F238E27FC236}">
                <a16:creationId xmlns:a16="http://schemas.microsoft.com/office/drawing/2014/main" id="{5D6B9B0C-71AA-4CC1-A35F-BFA3D637B677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246063" y="5183188"/>
            <a:ext cx="1019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mell </a:t>
            </a:r>
            <a:b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handling N2 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78" name="Plassholder for tekst 2">
            <a:extLst>
              <a:ext uri="{FF2B5EF4-FFF2-40B4-BE49-F238E27FC236}">
                <a16:creationId xmlns:a16="http://schemas.microsoft.com/office/drawing/2014/main" id="{F16FA775-3CC0-407D-9207-3F99686FE26B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3094038" y="858838"/>
            <a:ext cx="114617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035AA6BC-24C9-4DF4-AAA0-673B44EFFE90}" type="datetime'0''''''''''''1''''.0''''5''''''''''''.''''''''''''202''''''1'">
              <a:rPr kumimoji="0" lang="nb-NO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1.05.2021</a:t>
            </a:fld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5: Implementeringsplan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eslutte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27" name="Plassholder for tekst 2">
            <a:extLst>
              <a:ext uri="{FF2B5EF4-FFF2-40B4-BE49-F238E27FC236}">
                <a16:creationId xmlns:a16="http://schemas.microsoft.com/office/drawing/2014/main" id="{06F13956-1939-49BF-AFF5-88D225783922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4598988" y="2062163"/>
            <a:ext cx="2049463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vklare arbeidsorganisering</a:t>
            </a:r>
          </a:p>
        </p:txBody>
      </p:sp>
      <p:sp>
        <p:nvSpPr>
          <p:cNvPr id="260" name="Plassholder for tekst 2">
            <a:extLst>
              <a:ext uri="{FF2B5EF4-FFF2-40B4-BE49-F238E27FC236}">
                <a16:creationId xmlns:a16="http://schemas.microsoft.com/office/drawing/2014/main" id="{C3D96B53-5691-4E19-8139-5F63616DD043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5705475" y="3074988"/>
            <a:ext cx="3197225" cy="18256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slutning av endring i arbeidsorganisering</a:t>
            </a:r>
            <a:endParaRPr kumimoji="0" lang="nb-NO" sz="1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36" name="Plassholder for tekst 2">
            <a:extLst>
              <a:ext uri="{FF2B5EF4-FFF2-40B4-BE49-F238E27FC236}">
                <a16:creationId xmlns:a16="http://schemas.microsoft.com/office/drawing/2014/main" id="{808B6A38-C8DD-4107-BDE0-70E6E45A54D7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3590925" y="5334000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138">
            <p14:nvContentPartPr>
              <p14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14:cNvPr>
              <p14:cNvContentPartPr/>
              <p14:nvPr/>
            </p14:nvContentPartPr>
            <p14:xfrm>
              <a:off x="4819680" y="3448080"/>
              <a:ext cx="360" cy="360"/>
            </p14:xfrm>
          </p:contentPart>
        </mc:Choice>
        <mc:Fallback>
          <p:pic>
            <p:nvPicPr>
              <p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:cNvPr>
              <p:cNvPicPr/>
              <p:nvPr/>
            </p:nvPicPr>
            <p:blipFill>
              <a:blip r:embed="rId139"/>
              <a:stretch>
                <a:fillRect/>
              </a:stretch>
            </p:blipFill>
            <p:spPr>
              <a:xfrm>
                <a:off x="4810320" y="3438720"/>
                <a:ext cx="19080" cy="19080"/>
              </a:xfrm>
              <a:prstGeom prst="rect">
                <a:avLst/>
              </a:prstGeom>
            </p:spPr>
          </p:pic>
        </mc:Fallback>
      </mc:AlternateContent>
      <p:sp>
        <p:nvSpPr>
          <p:cNvPr id="137" name="Rectangle 7">
            <a:extLst>
              <a:ext uri="{FF2B5EF4-FFF2-40B4-BE49-F238E27FC236}">
                <a16:creationId xmlns:a16="http://schemas.microsoft.com/office/drawing/2014/main" id="{D2FAF335-E0E5-424D-81FF-65141D26AB37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4057651" y="5722582"/>
            <a:ext cx="44450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8" name="Rectangle 7">
            <a:extLst>
              <a:ext uri="{FF2B5EF4-FFF2-40B4-BE49-F238E27FC236}">
                <a16:creationId xmlns:a16="http://schemas.microsoft.com/office/drawing/2014/main" id="{066A9AAD-422F-4A81-92AE-E646D67A4CA3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9854573" y="5795032"/>
            <a:ext cx="44450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145" name="Plassholder for tekst 2">
            <a:extLst>
              <a:ext uri="{FF2B5EF4-FFF2-40B4-BE49-F238E27FC236}">
                <a16:creationId xmlns:a16="http://schemas.microsoft.com/office/drawing/2014/main" id="{BAB2DE37-BFD3-40FE-B5E5-99190C433B10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3997326" y="5842164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SAM</a:t>
            </a:r>
          </a:p>
        </p:txBody>
      </p:sp>
      <p:sp useBgFill="1">
        <p:nvSpPr>
          <p:cNvPr id="146" name="Plassholder for tekst 2">
            <a:extLst>
              <a:ext uri="{FF2B5EF4-FFF2-40B4-BE49-F238E27FC236}">
                <a16:creationId xmlns:a16="http://schemas.microsoft.com/office/drawing/2014/main" id="{2129461A-0509-4397-8D73-C663B747C7D4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9807576" y="5881221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SAM</a:t>
            </a:r>
          </a:p>
        </p:txBody>
      </p:sp>
    </p:spTree>
    <p:extLst>
      <p:ext uri="{BB962C8B-B14F-4D97-AF65-F5344CB8AC3E}">
        <p14:creationId xmlns:p14="http://schemas.microsoft.com/office/powerpoint/2010/main" val="31666519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:a16="http://schemas.microsoft.com/office/drawing/2014/main" id="{0B9FD335-E78E-45F6-AC14-C8E02D33AC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136" imgW="592" imgH="591" progId="TCLayout.ActiveDocument.1">
                  <p:embed/>
                </p:oleObj>
              </mc:Choice>
              <mc:Fallback>
                <p:oleObj name="think-cell Slide" r:id="rId136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:a16="http://schemas.microsoft.com/office/drawing/2014/main" id="{0B9FD335-E78E-45F6-AC14-C8E02D33A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138">
            <p14:nvContentPartPr>
              <p14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14:cNvPr>
              <p14:cNvContentPartPr/>
              <p14:nvPr/>
            </p14:nvContentPartPr>
            <p14:xfrm>
              <a:off x="4819680" y="3448080"/>
              <a:ext cx="360" cy="360"/>
            </p14:xfrm>
          </p:contentPart>
        </mc:Choice>
        <mc:Fallback>
          <p:pic>
            <p:nvPicPr>
              <p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:cNvPr>
              <p:cNvPicPr/>
              <p:nvPr/>
            </p:nvPicPr>
            <p:blipFill>
              <a:blip r:embed="rId139"/>
              <a:stretch>
                <a:fillRect/>
              </a:stretch>
            </p:blipFill>
            <p:spPr>
              <a:xfrm>
                <a:off x="4810320" y="3438720"/>
                <a:ext cx="19080" cy="19080"/>
              </a:xfrm>
              <a:prstGeom prst="rect">
                <a:avLst/>
              </a:prstGeom>
            </p:spPr>
          </p:pic>
        </mc:Fallback>
      </mc:AlternateContent>
      <p:sp>
        <p:nvSpPr>
          <p:cNvPr id="145" name="Rectangle 144">
            <a:extLst>
              <a:ext uri="{FF2B5EF4-FFF2-40B4-BE49-F238E27FC236}">
                <a16:creationId xmlns:a16="http://schemas.microsoft.com/office/drawing/2014/main" id="{1A629F2E-95A2-48B1-A4A6-8D855AC7A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243638" y="842963"/>
            <a:ext cx="1947863" cy="5343525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Plassholder for tekst 2">
            <a:extLst>
              <a:ext uri="{FF2B5EF4-FFF2-40B4-BE49-F238E27FC236}">
                <a16:creationId xmlns:a16="http://schemas.microsoft.com/office/drawing/2014/main" id="{601E8EA7-E17E-41EA-808D-099ECF0C2CD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346200" y="382588"/>
            <a:ext cx="16700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3777451C-C666-4344-8CC9-E3DD666469D6}" type="datetime'''''''''''''a''''''''p''''''''''''''''''r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apr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Plassholder for tekst 2">
            <a:extLst>
              <a:ext uri="{FF2B5EF4-FFF2-40B4-BE49-F238E27FC236}">
                <a16:creationId xmlns:a16="http://schemas.microsoft.com/office/drawing/2014/main" id="{7EA55C67-1626-4800-B198-CAA54078F2E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16250" y="382588"/>
            <a:ext cx="17240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CF44F85C-B388-4A40-BC0B-20FCF51A3BFB}" type="datetime'''''''''''''''''m''''''a''''''i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mai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Plassholder for tekst 2">
            <a:extLst>
              <a:ext uri="{FF2B5EF4-FFF2-40B4-BE49-F238E27FC236}">
                <a16:creationId xmlns:a16="http://schemas.microsoft.com/office/drawing/2014/main" id="{6879E06E-F77B-4670-ADD7-5F0845DBC5B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40275" y="382588"/>
            <a:ext cx="16700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176BE6B9-A39D-4ACD-89FA-C36F11DD842A}" type="datetime'''''''''''''j''''''''u''''n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jun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9" name="Plassholder for tekst 2">
            <a:extLst>
              <a:ext uri="{FF2B5EF4-FFF2-40B4-BE49-F238E27FC236}">
                <a16:creationId xmlns:a16="http://schemas.microsoft.com/office/drawing/2014/main" id="{BE63C817-5C4D-464D-B846-3A5DED1E75D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410325" y="382588"/>
            <a:ext cx="17240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DC9288F-77A2-4093-8FCA-303733F4CF33}" type="datetime'''''''''''''''j''''''''''''''''u''''l''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jul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0" name="Plassholder for tekst 2">
            <a:extLst>
              <a:ext uri="{FF2B5EF4-FFF2-40B4-BE49-F238E27FC236}">
                <a16:creationId xmlns:a16="http://schemas.microsoft.com/office/drawing/2014/main" id="{1862AECC-FDCF-4FB0-95C5-D38F711E03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34350" y="382588"/>
            <a:ext cx="1725613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1AE55AB-C546-4A5D-88D5-4F3B1ECA3369}" type="datetime'''''''''''''''''''''a''''''''''''''''''''''''''u''''g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aug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1" name="Plassholder for tekst 2">
            <a:extLst>
              <a:ext uri="{FF2B5EF4-FFF2-40B4-BE49-F238E27FC236}">
                <a16:creationId xmlns:a16="http://schemas.microsoft.com/office/drawing/2014/main" id="{0C8390EC-F112-4971-9534-6A427DC15B0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59963" y="382588"/>
            <a:ext cx="16700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BB112149-20FC-4A51-86E8-40912038EB3B}" type="datetime'''''''''''''''s''e''''''p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sep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Plassholder for tekst 2">
            <a:extLst>
              <a:ext uri="{FF2B5EF4-FFF2-40B4-BE49-F238E27FC236}">
                <a16:creationId xmlns:a16="http://schemas.microsoft.com/office/drawing/2014/main" id="{30AD0AFB-139F-4653-B6EC-A6293F59B6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530013" y="382588"/>
            <a:ext cx="33337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D416E5A-C3D1-434D-8520-982D3E54021C}" type="datetime'''''''''''''''''''''''''''''''''o''k''''''''''t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okt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Plassholder for tekst 2">
            <a:extLst>
              <a:ext uri="{FF2B5EF4-FFF2-40B4-BE49-F238E27FC236}">
                <a16:creationId xmlns:a16="http://schemas.microsoft.com/office/drawing/2014/main" id="{F2B9AEBC-F173-4C2D-A731-4A9C3BC7439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46200" y="612775"/>
            <a:ext cx="222250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28536D5E-C444-4B08-9794-0111642E1DD4}" type="datetime'''''''''1''''''''3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3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Plassholder for tekst 2">
            <a:extLst>
              <a:ext uri="{FF2B5EF4-FFF2-40B4-BE49-F238E27FC236}">
                <a16:creationId xmlns:a16="http://schemas.microsoft.com/office/drawing/2014/main" id="{3DD2EB10-9A76-410B-A384-293A12A67D5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68450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3FF62DA-CD15-4232-99D7-062C231AD02F}" type="datetime'1''''''''''''''''''''''''''''''4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4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Plassholder for tekst 2">
            <a:extLst>
              <a:ext uri="{FF2B5EF4-FFF2-40B4-BE49-F238E27FC236}">
                <a16:creationId xmlns:a16="http://schemas.microsoft.com/office/drawing/2014/main" id="{C595E2EC-44AD-476C-8756-30D7494ED45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958975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3B3FFDD-96AD-4FB5-98AB-5B8C7B01F161}" type="datetime'''''''''''''''1''''''''5''''''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5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Plassholder for tekst 2">
            <a:extLst>
              <a:ext uri="{FF2B5EF4-FFF2-40B4-BE49-F238E27FC236}">
                <a16:creationId xmlns:a16="http://schemas.microsoft.com/office/drawing/2014/main" id="{C777551F-E29E-412F-851B-D87EDD98D2B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347913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4F9D1EA2-F656-498E-9C07-5562A950995C}" type="datetime'''''''''''''1''''''''''''''''''''''''''''''''''''''6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6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Plassholder for tekst 2">
            <a:extLst>
              <a:ext uri="{FF2B5EF4-FFF2-40B4-BE49-F238E27FC236}">
                <a16:creationId xmlns:a16="http://schemas.microsoft.com/office/drawing/2014/main" id="{9FA96276-A666-41C3-8154-205A567010C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736850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6FD667D-E6CA-4218-80DD-7B864133603F}" type="datetime'''''''''''''''1''''''''7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7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0" name="Plassholder for tekst 2">
            <a:extLst>
              <a:ext uri="{FF2B5EF4-FFF2-40B4-BE49-F238E27FC236}">
                <a16:creationId xmlns:a16="http://schemas.microsoft.com/office/drawing/2014/main" id="{E98C58DE-A6A8-45EC-98B8-177FDF8851E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27375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087D9B2-15DE-4B57-A278-5AD3E097BAD5}" type="datetime'''1''''''''''''''''''''''''''''''''''''''''''''''''''''''8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8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1" name="Plassholder for tekst 2">
            <a:extLst>
              <a:ext uri="{FF2B5EF4-FFF2-40B4-BE49-F238E27FC236}">
                <a16:creationId xmlns:a16="http://schemas.microsoft.com/office/drawing/2014/main" id="{0C2F16CF-2863-470C-8F68-BC612988636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516313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0A4817E-3FDB-42C0-96D2-519B077F4E29}" type="datetime'''''''''''1''''9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19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2" name="Plassholder for tekst 2">
            <a:extLst>
              <a:ext uri="{FF2B5EF4-FFF2-40B4-BE49-F238E27FC236}">
                <a16:creationId xmlns:a16="http://schemas.microsoft.com/office/drawing/2014/main" id="{307D1DFE-FF8E-4B21-8B78-41AB77ADBCA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05250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FE4476F-3EAA-4372-9FFA-C8BD6540A8C9}" type="datetime'''''''''''''''''''''2''''''''0''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0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3" name="Plassholder for tekst 2">
            <a:extLst>
              <a:ext uri="{FF2B5EF4-FFF2-40B4-BE49-F238E27FC236}">
                <a16:creationId xmlns:a16="http://schemas.microsoft.com/office/drawing/2014/main" id="{2BF226BE-C23E-4C35-BDAF-A0F61FDF177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295775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B6F68710-ACA4-42D5-AC72-498F126BB7A0}" type="datetime'''''''''''''''2''''''''''''''''1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1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4" name="Plassholder for tekst 2">
            <a:extLst>
              <a:ext uri="{FF2B5EF4-FFF2-40B4-BE49-F238E27FC236}">
                <a16:creationId xmlns:a16="http://schemas.microsoft.com/office/drawing/2014/main" id="{D7CB405F-5576-4F7D-99B7-C16F6B34FF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684713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0303D4D-6194-47F8-8791-7B9B5EE27CE7}" type="datetime'''''''''''''''''''''2''''''''''''''''''2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2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5" name="Plassholder for tekst 2">
            <a:extLst>
              <a:ext uri="{FF2B5EF4-FFF2-40B4-BE49-F238E27FC236}">
                <a16:creationId xmlns:a16="http://schemas.microsoft.com/office/drawing/2014/main" id="{3BDC71A3-43D9-43AD-B7A2-F0549F9660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075238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8ACDE46-D993-4042-BBAF-344669B59013}" type="datetime'''''''''''''''''''''''''''''''23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3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6" name="Plassholder for tekst 2">
            <a:extLst>
              <a:ext uri="{FF2B5EF4-FFF2-40B4-BE49-F238E27FC236}">
                <a16:creationId xmlns:a16="http://schemas.microsoft.com/office/drawing/2014/main" id="{EFDB4E99-01EB-4CC3-8A09-06105F41049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464175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10FE94F-2C30-4F25-B5C4-31FA599D2DFC}" type="datetime'''''''2''''''4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4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7" name="Plassholder for tekst 2">
            <a:extLst>
              <a:ext uri="{FF2B5EF4-FFF2-40B4-BE49-F238E27FC236}">
                <a16:creationId xmlns:a16="http://schemas.microsoft.com/office/drawing/2014/main" id="{E27D6533-AA2B-4A16-9A38-77AB7FF594C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853113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CAFD0C75-A458-4147-9BEC-F1A3E42A0DF2}" type="datetime'''2''''''''''''''''''''''''''''''''''''''''5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5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9" name="Plassholder for tekst 2">
            <a:extLst>
              <a:ext uri="{FF2B5EF4-FFF2-40B4-BE49-F238E27FC236}">
                <a16:creationId xmlns:a16="http://schemas.microsoft.com/office/drawing/2014/main" id="{FB0F5049-650F-4D3F-BBA5-F21A399525F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43638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2D2D586E-43F6-456D-B6B2-9C40EDDEACC6}" type="datetime'''''''''''''''''''''2''''''''''''''''''''''''''6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6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1" name="Plassholder for tekst 2">
            <a:extLst>
              <a:ext uri="{FF2B5EF4-FFF2-40B4-BE49-F238E27FC236}">
                <a16:creationId xmlns:a16="http://schemas.microsoft.com/office/drawing/2014/main" id="{66172DDB-7C88-4E59-A2CA-DDB751EAD13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32575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EF54B2C-1DCF-4FB1-8D1D-ECE15B3FD149}" type="datetime'''''''2''''''''''''''''''''''''''''''7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7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2" name="Plassholder for tekst 2">
            <a:extLst>
              <a:ext uri="{FF2B5EF4-FFF2-40B4-BE49-F238E27FC236}">
                <a16:creationId xmlns:a16="http://schemas.microsoft.com/office/drawing/2014/main" id="{51629BC2-8455-4789-A42E-ED9065C6D1D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021513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B632A5BE-587F-4D03-9B4E-A6E9BFD127E2}" type="datetime'''''2''''''''''''''8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8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3" name="Plassholder for tekst 2">
            <a:extLst>
              <a:ext uri="{FF2B5EF4-FFF2-40B4-BE49-F238E27FC236}">
                <a16:creationId xmlns:a16="http://schemas.microsoft.com/office/drawing/2014/main" id="{D6836AA1-F4E2-42EE-AAFC-FCE0B2F33FC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412038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69D9812-3AF6-4D74-82A4-39A55C1FA6F1}" type="datetime'''''2''''''''''''''''''''''''''''''''''''''''''''''''9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9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4" name="Plassholder for tekst 2">
            <a:extLst>
              <a:ext uri="{FF2B5EF4-FFF2-40B4-BE49-F238E27FC236}">
                <a16:creationId xmlns:a16="http://schemas.microsoft.com/office/drawing/2014/main" id="{FE717FC4-1943-4EAF-8ED0-1224E67CB8E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800975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C82FE470-A60D-45E2-9E27-9FE8D5456DC3}" type="datetime'''''3''''''''''0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0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5" name="Plassholder for tekst 2">
            <a:extLst>
              <a:ext uri="{FF2B5EF4-FFF2-40B4-BE49-F238E27FC236}">
                <a16:creationId xmlns:a16="http://schemas.microsoft.com/office/drawing/2014/main" id="{CDF59795-29E3-46FC-BC68-623ADED26BD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191500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371C70C-289E-4D93-9833-DCF263F59972}" type="datetime'3''''''''''''''''''''1''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1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6" name="Plassholder for tekst 2">
            <a:extLst>
              <a:ext uri="{FF2B5EF4-FFF2-40B4-BE49-F238E27FC236}">
                <a16:creationId xmlns:a16="http://schemas.microsoft.com/office/drawing/2014/main" id="{32F63952-F766-4378-BE5E-8BFAD74B013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580438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A8EED52-57A2-46E2-9991-EF08DC0E1FEE}" type="datetime'''''''''''''''''''3''''''''''''''''''''''2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2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7" name="Plassholder for tekst 2">
            <a:extLst>
              <a:ext uri="{FF2B5EF4-FFF2-40B4-BE49-F238E27FC236}">
                <a16:creationId xmlns:a16="http://schemas.microsoft.com/office/drawing/2014/main" id="{20445005-E59C-4F46-86D3-53F035E3245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969375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1C60735-8FED-402E-95B9-D9034C65F990}" type="datetime'''''''''33''''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3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8" name="Plassholder for tekst 2">
            <a:extLst>
              <a:ext uri="{FF2B5EF4-FFF2-40B4-BE49-F238E27FC236}">
                <a16:creationId xmlns:a16="http://schemas.microsoft.com/office/drawing/2014/main" id="{5882CDBF-616A-443A-A05D-4A3A135E189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359900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1AB39172-56F5-4F0A-84DE-484957B1B6CE}" type="datetime'''''''''''''''''3''''''''''''4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4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9" name="Plassholder for tekst 2">
            <a:extLst>
              <a:ext uri="{FF2B5EF4-FFF2-40B4-BE49-F238E27FC236}">
                <a16:creationId xmlns:a16="http://schemas.microsoft.com/office/drawing/2014/main" id="{482B4FB5-9162-44AA-85E2-AB258F6B124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748838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1B170151-68F8-49EB-85B5-ADE2F4D4CA91}" type="datetime'''''''''''''''''3''''''''''''''''''''''5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5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0" name="Plassholder for tekst 2">
            <a:extLst>
              <a:ext uri="{FF2B5EF4-FFF2-40B4-BE49-F238E27FC236}">
                <a16:creationId xmlns:a16="http://schemas.microsoft.com/office/drawing/2014/main" id="{8B2876B8-5FBF-4C1C-9ABB-08A71C07479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137775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64D3298A-1B22-48D1-AAEB-3542DA4DDA1E}" type="datetime'''3''''''''''''''''''''''''6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6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1" name="Plassholder for tekst 2">
            <a:extLst>
              <a:ext uri="{FF2B5EF4-FFF2-40B4-BE49-F238E27FC236}">
                <a16:creationId xmlns:a16="http://schemas.microsoft.com/office/drawing/2014/main" id="{47C9D3D7-DBA6-4C9B-8923-0D8DF83D01F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528300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B6A79A0B-8D7C-4F03-B790-E2669EC44045}" type="datetime'''''''''''''''''''''''''3''''''''''''7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7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2" name="Plassholder for tekst 2">
            <a:extLst>
              <a:ext uri="{FF2B5EF4-FFF2-40B4-BE49-F238E27FC236}">
                <a16:creationId xmlns:a16="http://schemas.microsoft.com/office/drawing/2014/main" id="{90478293-1BB2-4E18-8D89-FD64A50A525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917238" y="612775"/>
            <a:ext cx="38893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3A4BF08-A5E6-46E7-A02B-9978A65434AA}" type="datetime'3''''''''''''''''''8''''''''''''''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8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3" name="Plassholder for tekst 2">
            <a:extLst>
              <a:ext uri="{FF2B5EF4-FFF2-40B4-BE49-F238E27FC236}">
                <a16:creationId xmlns:a16="http://schemas.microsoft.com/office/drawing/2014/main" id="{E258B1E0-6807-46C2-A4F4-EDCA5B84082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1306175" y="612775"/>
            <a:ext cx="390525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2E89312E-EAC5-4100-918D-5939D36FD4BE}" type="datetime'''3''9''''''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9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4" name="Plassholder for tekst 2">
            <a:extLst>
              <a:ext uri="{FF2B5EF4-FFF2-40B4-BE49-F238E27FC236}">
                <a16:creationId xmlns:a16="http://schemas.microsoft.com/office/drawing/2014/main" id="{389AACC4-9A68-4B81-B3A9-20BBC80C402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1696700" y="612775"/>
            <a:ext cx="166688" cy="230188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kumimoji="0" lang="nb-NO" sz="1200" b="1" i="0" strike="noStrike" kern="1200" spc="0" normalizeH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1DFFAF5C-579D-4700-B189-16A3FBC4D86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206375" y="842963"/>
            <a:ext cx="0" cy="53435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4459B0B6-853D-410B-BFDD-DFEECDF19DD8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1346200" y="842963"/>
            <a:ext cx="0" cy="53435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AE35F69D-FDFC-44A3-B080-5ABDB44CFC7D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11863388" y="842963"/>
            <a:ext cx="0" cy="53435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642969F4-BBDF-4927-B32F-8E779D69C1E5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9859963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73483FFC-83D9-4787-A523-BEF3FEFC18EC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11530013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3C07F879-4B18-4724-8532-8860B8CC74A6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641032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3DDACD13-2D8D-4123-AE31-6109A69E0BE0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7402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45DDC315-FD78-439B-AB99-90F03D0CB7D6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301625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2A8303DB-5F02-426D-BDFC-4AF05376EEE3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13435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01F7B50E-E4B3-455F-B23B-D7AED24BA296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19589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F09BCA45-C911-4BF3-8E89-563F31A2B1A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156845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1DFAB824-164B-46A8-A12F-A418370FCCFD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8580438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A0E49E5A-AA7F-4E0F-A10E-09AD70A92593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052830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DC2FC79F-E706-45B8-B1C5-F26838128964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78009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B3411258-222F-42F3-800F-75C00E809693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10917238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951C3CD8-43DD-4E3B-AA39-E84CAEFCAC1E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390525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33E5EBBF-2AC9-4802-BC40-4CF0D20B1CE5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4641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C214D456-09B5-4161-B732-16760D33527F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13061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C2D9F0DD-1EF5-48A1-9CFA-12201B6D5986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1169670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12339718-6DD1-4E06-B65D-8F660172B7A8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819150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0D19F3F2-4DF9-4E3B-BD6D-4347FBD30694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2347913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A907601D-F2F2-44E3-A2E6-DC185504A475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273685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C7B8914-6234-4B3A-B6F1-755696CDE961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42957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2A6B2EE7-2211-472B-B495-11BFCE7615EF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31273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04509720-D01E-4AE4-A27C-047F38BB7006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9748838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3971C944-6B94-4E26-94CF-6B186DD690C1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4684713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67C459CB-A84C-45DD-8030-69ACEE5FD59C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5075238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734F2735-0ED9-43E2-B863-7983AB047E18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853113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BCFD38B5-9BDF-4BB5-8034-4D067A0BC137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6243638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F8A337EB-7949-4879-9E02-B4A5AC672F0F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66325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3ADCE2E0-7972-49B9-84F1-AA5433217FB0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7021513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94484E89-46B9-4685-945A-645AD59607B3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7412038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8DA3514-5EF6-4DE9-A734-DB213D81BDF2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9693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BE393312-D3DE-4B8C-A729-474922A1EAB3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359900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87827E0D-9941-41A5-9915-27CF75A4E687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3516313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AF905771-11C2-4F77-A6AF-3EFFEA33748E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0137775" y="842963"/>
            <a:ext cx="0" cy="534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40DC182C-709D-4BAC-A0E9-3B9C9344A28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206375" y="1268413"/>
            <a:ext cx="1165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D3F0A539-B368-44D6-BC68-C39BC3A84674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206375" y="5068888"/>
            <a:ext cx="1165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28066D99-37B4-484A-860B-1FEB83ABAD99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267493" y="6186488"/>
            <a:ext cx="116570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31A981A1-3C24-417B-8B4C-8D474045FFED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206375" y="842963"/>
            <a:ext cx="116570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8937DD4-EBC8-4D04-AC3D-5A8D91F758D2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6243638" y="2789238"/>
            <a:ext cx="1947863" cy="793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19CF1D43-2311-4535-8D99-0C66CA6F46A5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11083925" y="5229225"/>
            <a:ext cx="22225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6694EDD1-7047-43A1-9E5F-360CDF93AE11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8191500" y="2789238"/>
            <a:ext cx="777875" cy="79375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7E26FA49-46EF-4636-852B-7AB72CDCAD5A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9024938" y="5229225"/>
            <a:ext cx="39052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BDFF7FCD-9BD0-4ADF-8CA1-4AEEEB81415E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4795838" y="5229225"/>
            <a:ext cx="334963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378E83E7-8B4F-4F6F-B660-BEB4928F8487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5353050" y="5749925"/>
            <a:ext cx="44450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60C838C5-05C4-441F-8849-8EFCB4E8E636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2736850" y="1778000"/>
            <a:ext cx="1112838" cy="79375"/>
          </a:xfrm>
          <a:prstGeom prst="rect">
            <a:avLst/>
          </a:prstGeom>
          <a:solidFill>
            <a:srgbClr val="C4D600"/>
          </a:solidFill>
          <a:ln w="19050" algn="ctr">
            <a:solidFill>
              <a:srgbClr val="C4D600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44182BC-4EE7-4662-9205-DFC4EE87952D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4740275" y="2452688"/>
            <a:ext cx="779463" cy="79375"/>
          </a:xfrm>
          <a:prstGeom prst="rect">
            <a:avLst/>
          </a:prstGeom>
          <a:solidFill>
            <a:srgbClr val="0076A8"/>
          </a:solidFill>
          <a:ln w="19050" algn="ctr">
            <a:solidFill>
              <a:srgbClr val="0076A8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7B3240BC-AF7C-4BE8-8297-192E4F8222F5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8969375" y="3127375"/>
            <a:ext cx="1112838" cy="79375"/>
          </a:xfrm>
          <a:prstGeom prst="rect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969C0253-F0CE-4B0E-AB5F-BDF8F650056F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3016250" y="2114550"/>
            <a:ext cx="1557338" cy="79375"/>
          </a:xfrm>
          <a:prstGeom prst="rect">
            <a:avLst/>
          </a:prstGeom>
          <a:solidFill>
            <a:srgbClr val="A0DCFF"/>
          </a:solidFill>
          <a:ln w="19050" algn="ctr">
            <a:solidFill>
              <a:srgbClr val="A0DCFF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80E12973-E9E9-4BDD-9504-485E6D85217F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5630863" y="2789238"/>
            <a:ext cx="612775" cy="79375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13EC60DE-B54A-4F1C-A932-90E49EBBD98A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10026650" y="3465513"/>
            <a:ext cx="612775" cy="79375"/>
          </a:xfrm>
          <a:prstGeom prst="rect">
            <a:avLst/>
          </a:prstGeom>
          <a:solidFill>
            <a:srgbClr val="009A44"/>
          </a:solidFill>
          <a:ln w="19050" algn="ctr">
            <a:solidFill>
              <a:srgbClr val="009A44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652888CC-3281-490C-8B84-1DDC6501001C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2403474" y="1439863"/>
            <a:ext cx="1112838" cy="79375"/>
          </a:xfrm>
          <a:prstGeom prst="rect">
            <a:avLst/>
          </a:prstGeom>
          <a:solidFill>
            <a:srgbClr val="ED8B00"/>
          </a:solidFill>
          <a:ln w="19050" algn="ctr">
            <a:solidFill>
              <a:srgbClr val="ED8B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292F284A-8458-4505-BE34-748A6B7987A5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3683000" y="5229225"/>
            <a:ext cx="390525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A33024A7-0C9D-4CC9-93A6-15BB2DF6EC69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10694988" y="3802063"/>
            <a:ext cx="611188" cy="79375"/>
          </a:xfrm>
          <a:prstGeom prst="rect">
            <a:avLst/>
          </a:prstGeom>
          <a:solidFill>
            <a:srgbClr val="DA291C"/>
          </a:solidFill>
          <a:ln w="19050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64A3BDF4-7F75-4A22-86E9-6703F4DB2674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11418888" y="4140200"/>
            <a:ext cx="111125" cy="79375"/>
          </a:xfrm>
          <a:prstGeom prst="rect">
            <a:avLst/>
          </a:prstGeom>
          <a:solidFill>
            <a:srgbClr val="86BC25"/>
          </a:solidFill>
          <a:ln w="19050" algn="ctr">
            <a:solidFill>
              <a:srgbClr val="86BC25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3" name="Arrow: Right 262">
            <a:extLst>
              <a:ext uri="{FF2B5EF4-FFF2-40B4-BE49-F238E27FC236}">
                <a16:creationId xmlns:a16="http://schemas.microsoft.com/office/drawing/2014/main" id="{6EF61A22-284F-4163-8D22-53D7E8618D70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11530013" y="4437063"/>
            <a:ext cx="43497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5" name="Arrow: Right 264">
            <a:extLst>
              <a:ext uri="{FF2B5EF4-FFF2-40B4-BE49-F238E27FC236}">
                <a16:creationId xmlns:a16="http://schemas.microsoft.com/office/drawing/2014/main" id="{C98DDA2D-AE7C-4E9A-AD8F-EA4BC6C88934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11752263" y="4775200"/>
            <a:ext cx="2127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9" name="Isosceles Triangle 268">
            <a:extLst>
              <a:ext uri="{FF2B5EF4-FFF2-40B4-BE49-F238E27FC236}">
                <a16:creationId xmlns:a16="http://schemas.microsoft.com/office/drawing/2014/main" id="{8FF89DE6-6580-4A28-8F99-D87A0EE00821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 rot="10800000">
            <a:off x="7110413" y="6330950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7" name="Right Bracket 266">
            <a:extLst>
              <a:ext uri="{FF2B5EF4-FFF2-40B4-BE49-F238E27FC236}">
                <a16:creationId xmlns:a16="http://schemas.microsoft.com/office/drawing/2014/main" id="{0A5AA0F4-44AD-454A-9083-FBDF9CB7AD79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 rot="5400000">
            <a:off x="7162800" y="5302250"/>
            <a:ext cx="107950" cy="194786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2" name="Isosceles Triangle 271">
            <a:extLst>
              <a:ext uri="{FF2B5EF4-FFF2-40B4-BE49-F238E27FC236}">
                <a16:creationId xmlns:a16="http://schemas.microsoft.com/office/drawing/2014/main" id="{D0803043-2D73-478D-B33D-FD6EE1EBCCD1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11417300" y="985838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6" name="Isosceles Triangle 275">
            <a:extLst>
              <a:ext uri="{FF2B5EF4-FFF2-40B4-BE49-F238E27FC236}">
                <a16:creationId xmlns:a16="http://schemas.microsoft.com/office/drawing/2014/main" id="{38B99F9C-60BD-44C3-B606-956802B2429D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4683125" y="985838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7" name="Isosceles Triangle 276">
            <a:extLst>
              <a:ext uri="{FF2B5EF4-FFF2-40B4-BE49-F238E27FC236}">
                <a16:creationId xmlns:a16="http://schemas.microsoft.com/office/drawing/2014/main" id="{A2A341C7-5B07-4870-9FB8-9D8EC0E5632D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4516438" y="985838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8" name="Isosceles Triangle 277">
            <a:extLst>
              <a:ext uri="{FF2B5EF4-FFF2-40B4-BE49-F238E27FC236}">
                <a16:creationId xmlns:a16="http://schemas.microsoft.com/office/drawing/2014/main" id="{E5AF273C-D09A-47E8-B39B-776C91A382FB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2959100" y="985838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9" name="Isosceles Triangle 278">
            <a:extLst>
              <a:ext uri="{FF2B5EF4-FFF2-40B4-BE49-F238E27FC236}">
                <a16:creationId xmlns:a16="http://schemas.microsoft.com/office/drawing/2014/main" id="{4CE6B6CE-7025-44DA-BBEE-A29E282B1EAB}"/>
              </a:ext>
            </a:extLst>
          </p:cNvPr>
          <p:cNvSpPr/>
          <p:nvPr>
            <p:custDataLst>
              <p:tags r:id="rId103"/>
            </p:custDataLst>
          </p:nvPr>
        </p:nvSpPr>
        <p:spPr bwMode="gray">
          <a:xfrm>
            <a:off x="2679700" y="985838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05" name="Plassholder for tekst 2">
            <a:extLst>
              <a:ext uri="{FF2B5EF4-FFF2-40B4-BE49-F238E27FC236}">
                <a16:creationId xmlns:a16="http://schemas.microsoft.com/office/drawing/2014/main" id="{9DDFC2C2-B65F-4790-B67B-387F282B9BE0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4202113" y="1122363"/>
            <a:ext cx="744538" cy="2444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lde inn </a:t>
            </a:r>
            <a:r>
              <a:rPr kumimoji="0" lang="nb-NO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.all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il opplæring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8" name="Plassholder for tekst 2">
            <a:extLst>
              <a:ext uri="{FF2B5EF4-FFF2-40B4-BE49-F238E27FC236}">
                <a16:creationId xmlns:a16="http://schemas.microsoft.com/office/drawing/2014/main" id="{1FBA371F-7C18-4D60-92FC-9F2901F0E0B0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8953500" y="5335588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301" name="Plassholder for tekst 2">
            <a:extLst>
              <a:ext uri="{FF2B5EF4-FFF2-40B4-BE49-F238E27FC236}">
                <a16:creationId xmlns:a16="http://schemas.microsoft.com/office/drawing/2014/main" id="{78A0340C-9BBD-41CA-88E8-7A63C7E6AE8F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9015413" y="2738438"/>
            <a:ext cx="2757488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beidsoppgaver/kompetansekartlegging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99" name="Plassholder for tekst 2">
            <a:extLst>
              <a:ext uri="{FF2B5EF4-FFF2-40B4-BE49-F238E27FC236}">
                <a16:creationId xmlns:a16="http://schemas.microsoft.com/office/drawing/2014/main" id="{10902348-D694-489E-A18A-0879CEC91329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5065713" y="2984500"/>
            <a:ext cx="3857625" cy="3651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urdering og beslutning av endring i arbeidsoppgaver for </a:t>
            </a:r>
            <a:b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satte basert på kompetansekartlegging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83" name="Plassholder for tekst 2">
            <a:extLst>
              <a:ext uri="{FF2B5EF4-FFF2-40B4-BE49-F238E27FC236}">
                <a16:creationId xmlns:a16="http://schemas.microsoft.com/office/drawing/2014/main" id="{B566E23E-F8B6-4A90-B01C-CDBCF6F3B593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9940925" y="3751263"/>
            <a:ext cx="708025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slutning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306" name="Plassholder for tekst 2">
            <a:extLst>
              <a:ext uri="{FF2B5EF4-FFF2-40B4-BE49-F238E27FC236}">
                <a16:creationId xmlns:a16="http://schemas.microsoft.com/office/drawing/2014/main" id="{1B0B5A72-D72E-43FE-A3ED-F94E57BCF9C0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4619625" y="2063750"/>
            <a:ext cx="31115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Utrede og avklare rolle og arbeidsorganisering</a:t>
            </a:r>
          </a:p>
        </p:txBody>
      </p:sp>
      <p:sp useBgFill="1">
        <p:nvSpPr>
          <p:cNvPr id="288" name="Plassholder for tekst 2">
            <a:extLst>
              <a:ext uri="{FF2B5EF4-FFF2-40B4-BE49-F238E27FC236}">
                <a16:creationId xmlns:a16="http://schemas.microsoft.com/office/drawing/2014/main" id="{4FE7F28C-2611-4EF4-A506-7C3E2B6C5F12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9018588" y="4089400"/>
            <a:ext cx="2354263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nmelding av ansatte til opplæring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89" name="Plassholder for tekst 2">
            <a:extLst>
              <a:ext uri="{FF2B5EF4-FFF2-40B4-BE49-F238E27FC236}">
                <a16:creationId xmlns:a16="http://schemas.microsoft.com/office/drawing/2014/main" id="{33A1884E-9F68-4A50-ABEB-5115DD8752B0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5565775" y="2401888"/>
            <a:ext cx="424815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ormasjon til ansatte samt innspill på prosess og lokal løsning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0" name="Plassholder for tekst 2">
            <a:extLst>
              <a:ext uri="{FF2B5EF4-FFF2-40B4-BE49-F238E27FC236}">
                <a16:creationId xmlns:a16="http://schemas.microsoft.com/office/drawing/2014/main" id="{DC68F7F8-FA8A-4AA5-BA81-130B674607B5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10775950" y="4425950"/>
            <a:ext cx="708025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pplæring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6" name="Plassholder for tekst 2">
            <a:extLst>
              <a:ext uri="{FF2B5EF4-FFF2-40B4-BE49-F238E27FC236}">
                <a16:creationId xmlns:a16="http://schemas.microsoft.com/office/drawing/2014/main" id="{6D143C42-1085-4766-8949-FB7FC6E42204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3562350" y="1389063"/>
            <a:ext cx="2535238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taljplanlegging av endringsarbeidet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2" name="Plassholder for tekst 2">
            <a:extLst>
              <a:ext uri="{FF2B5EF4-FFF2-40B4-BE49-F238E27FC236}">
                <a16:creationId xmlns:a16="http://schemas.microsoft.com/office/drawing/2014/main" id="{48554324-5AE2-4D88-B51C-89701BCFECAC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8193088" y="4764088"/>
            <a:ext cx="3513138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ppfølging/realisering av endring frem mot 1. januar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00" name="Plassholder for tekst 2">
            <a:extLst>
              <a:ext uri="{FF2B5EF4-FFF2-40B4-BE49-F238E27FC236}">
                <a16:creationId xmlns:a16="http://schemas.microsoft.com/office/drawing/2014/main" id="{709376E2-0265-4707-BF90-59B799EC5422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266700" y="958850"/>
            <a:ext cx="614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lepeler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5" name="Plassholder for tekst 2">
            <a:extLst>
              <a:ext uri="{FF2B5EF4-FFF2-40B4-BE49-F238E27FC236}">
                <a16:creationId xmlns:a16="http://schemas.microsoft.com/office/drawing/2014/main" id="{66DD1B09-3D59-4A19-84DE-35B947454BA6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3611563" y="5335588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81" name="Plassholder for tekst 2">
            <a:extLst>
              <a:ext uri="{FF2B5EF4-FFF2-40B4-BE49-F238E27FC236}">
                <a16:creationId xmlns:a16="http://schemas.microsoft.com/office/drawing/2014/main" id="{9593251D-88CA-4D55-9B25-44F5B6FB7FEA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3895725" y="1727200"/>
            <a:ext cx="4021138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Kvalitetssikre informasjon for videre prosess (GAP og fakta)</a:t>
            </a:r>
          </a:p>
        </p:txBody>
      </p:sp>
      <p:sp useBgFill="1">
        <p:nvSpPr>
          <p:cNvPr id="307" name="Plassholder for tekst 2">
            <a:extLst>
              <a:ext uri="{FF2B5EF4-FFF2-40B4-BE49-F238E27FC236}">
                <a16:creationId xmlns:a16="http://schemas.microsoft.com/office/drawing/2014/main" id="{5B09C19E-4730-42A2-9B29-D77E883F9BB5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3114675" y="860425"/>
            <a:ext cx="114617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F5CFDF9-C605-4868-9762-CE4CA6DCB0EB}" type="datetime'''''''''01''.''0''5''.''''''2''''''''0''2''''''''''''''''''1'"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1.05.2021</a:t>
            </a:fld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5: Implementeringsplan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eslutte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1" name="Plassholder for tekst 2">
            <a:extLst>
              <a:ext uri="{FF2B5EF4-FFF2-40B4-BE49-F238E27FC236}">
                <a16:creationId xmlns:a16="http://schemas.microsoft.com/office/drawing/2014/main" id="{51F01376-0195-4CAF-A362-D88FE83EEB87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4838700" y="860425"/>
            <a:ext cx="1106488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7BC87E8-66AB-451E-999B-DCA59BA2862A}" type="datetime'''0''''''''''1.''''0''6''''.''2''0''''''2''''''1'''''''"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1.06.2021</a:t>
            </a:fld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8: Arbeidsorganisering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01.01.2021 fastsat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302" name="Plassholder for tekst 2">
            <a:extLst>
              <a:ext uri="{FF2B5EF4-FFF2-40B4-BE49-F238E27FC236}">
                <a16:creationId xmlns:a16="http://schemas.microsoft.com/office/drawing/2014/main" id="{100D2842-2235-4BE2-87AF-1A8B2248B15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10928350" y="5335588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04" name="Plassholder for tekst 2">
            <a:extLst>
              <a:ext uri="{FF2B5EF4-FFF2-40B4-BE49-F238E27FC236}">
                <a16:creationId xmlns:a16="http://schemas.microsoft.com/office/drawing/2014/main" id="{6C5F98C3-3428-42A7-8BED-A98581FA1ED3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266700" y="5184775"/>
            <a:ext cx="1019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mell </a:t>
            </a:r>
            <a:b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handling N2 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85" name="Plassholder for tekst 2">
            <a:extLst>
              <a:ext uri="{FF2B5EF4-FFF2-40B4-BE49-F238E27FC236}">
                <a16:creationId xmlns:a16="http://schemas.microsoft.com/office/drawing/2014/main" id="{8E803D68-0704-40AE-8B3F-998AB66FB145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5308600" y="5856289"/>
            <a:ext cx="533400" cy="1740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SAM</a:t>
            </a:r>
          </a:p>
        </p:txBody>
      </p:sp>
      <p:sp useBgFill="1">
        <p:nvSpPr>
          <p:cNvPr id="309" name="Plassholder for tekst 2">
            <a:extLst>
              <a:ext uri="{FF2B5EF4-FFF2-40B4-BE49-F238E27FC236}">
                <a16:creationId xmlns:a16="http://schemas.microsoft.com/office/drawing/2014/main" id="{8730EE6D-181B-4009-94FD-2AD1C624A3D6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8655050" y="3414713"/>
            <a:ext cx="1325563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mstillingssamtaler</a:t>
            </a:r>
          </a:p>
        </p:txBody>
      </p:sp>
      <p:sp>
        <p:nvSpPr>
          <p:cNvPr id="287" name="Plassholder for tekst 2">
            <a:extLst>
              <a:ext uri="{FF2B5EF4-FFF2-40B4-BE49-F238E27FC236}">
                <a16:creationId xmlns:a16="http://schemas.microsoft.com/office/drawing/2014/main" id="{41538633-0F06-4DEC-93CA-44AB82662A3A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266700" y="5705475"/>
            <a:ext cx="97631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mell</a:t>
            </a:r>
            <a:b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handling N1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03" name="Plassholder for tekst 2">
            <a:extLst>
              <a:ext uri="{FF2B5EF4-FFF2-40B4-BE49-F238E27FC236}">
                <a16:creationId xmlns:a16="http://schemas.microsoft.com/office/drawing/2014/main" id="{66352855-7F54-44E3-AE40-3C7F24173E1D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266700" y="636588"/>
            <a:ext cx="6000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1F1E049-5C50-4EDA-9C5C-B95FD76277F9}" type="datetime'Ak''t''''''''iv''''''it''''''''''''e''t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Aktivitet</a:t>
            </a:fld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7" name="Plassholder for tekst 2">
            <a:extLst>
              <a:ext uri="{FF2B5EF4-FFF2-40B4-BE49-F238E27FC236}">
                <a16:creationId xmlns:a16="http://schemas.microsoft.com/office/drawing/2014/main" id="{AE1DF40F-219B-41AF-8581-8302003C7774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9906000" y="860425"/>
            <a:ext cx="147002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023335AC-2CC8-4C6B-A398-375461BE20EE}" type="datetime'30''''''''.''''''''''''''''09.''''''''''''20''''''2''1'"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0.09.2021</a:t>
            </a:fld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10: Endring i</a:t>
            </a:r>
            <a:b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beidsorganisering gjennomfør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308" name="Plassholder for tekst 2">
            <a:extLst>
              <a:ext uri="{FF2B5EF4-FFF2-40B4-BE49-F238E27FC236}">
                <a16:creationId xmlns:a16="http://schemas.microsoft.com/office/drawing/2014/main" id="{0EDC15B1-7843-4249-B442-E579472FD01C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1390650" y="860425"/>
            <a:ext cx="1247775" cy="3667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A142802-0323-48B3-B7AB-0B8F1D53D074}" type="datetime'''''2''''''6''''''''''.''''04''.''''''20''''21'''''''''''''">
              <a:rPr kumimoji="0" lang="nb-NO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6.04.2021</a:t>
            </a:fld>
            <a:b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3: Ny arbeidsorganisering</a:t>
            </a:r>
            <a:b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besluttet</a:t>
            </a:r>
          </a:p>
        </p:txBody>
      </p:sp>
      <p:sp useBgFill="1">
        <p:nvSpPr>
          <p:cNvPr id="294" name="Plassholder for tekst 2">
            <a:extLst>
              <a:ext uri="{FF2B5EF4-FFF2-40B4-BE49-F238E27FC236}">
                <a16:creationId xmlns:a16="http://schemas.microsoft.com/office/drawing/2014/main" id="{E506806C-C924-44EE-AFC3-B2AA5B4B66AC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6781800" y="6456363"/>
            <a:ext cx="86995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mmerferie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3" name="Plassholder for tekst 2">
            <a:extLst>
              <a:ext uri="{FF2B5EF4-FFF2-40B4-BE49-F238E27FC236}">
                <a16:creationId xmlns:a16="http://schemas.microsoft.com/office/drawing/2014/main" id="{F954B4A9-24E3-4829-96AC-FE22D11A6315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4695825" y="5335588"/>
            <a:ext cx="533400" cy="18256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Rectangle 239">
            <a:extLst>
              <a:ext uri="{FF2B5EF4-FFF2-40B4-BE49-F238E27FC236}">
                <a16:creationId xmlns:a16="http://schemas.microsoft.com/office/drawing/2014/main" id="{9EED63FD-4E81-4095-972F-2A0E9FD4B760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4040982" y="5749132"/>
            <a:ext cx="44450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133" name="Plassholder for tekst 2">
            <a:extLst>
              <a:ext uri="{FF2B5EF4-FFF2-40B4-BE49-F238E27FC236}">
                <a16:creationId xmlns:a16="http://schemas.microsoft.com/office/drawing/2014/main" id="{43A283EC-9BB5-4A16-B9D9-F6C29014AEA5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3971925" y="5848354"/>
            <a:ext cx="533400" cy="19208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SAM</a:t>
            </a:r>
          </a:p>
        </p:txBody>
      </p:sp>
      <p:sp>
        <p:nvSpPr>
          <p:cNvPr id="134" name="Rectangle 239">
            <a:extLst>
              <a:ext uri="{FF2B5EF4-FFF2-40B4-BE49-F238E27FC236}">
                <a16:creationId xmlns:a16="http://schemas.microsoft.com/office/drawing/2014/main" id="{AFB37EE7-0B5D-40E2-BE1B-A2018B29C1E5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9883993" y="5724855"/>
            <a:ext cx="444500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135" name="Plassholder for tekst 2">
            <a:extLst>
              <a:ext uri="{FF2B5EF4-FFF2-40B4-BE49-F238E27FC236}">
                <a16:creationId xmlns:a16="http://schemas.microsoft.com/office/drawing/2014/main" id="{6CE953D7-E494-4358-87D8-E3A689982B8D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9828213" y="5841015"/>
            <a:ext cx="533400" cy="1740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SAM</a:t>
            </a:r>
          </a:p>
        </p:txBody>
      </p:sp>
    </p:spTree>
    <p:extLst>
      <p:ext uri="{BB962C8B-B14F-4D97-AF65-F5344CB8AC3E}">
        <p14:creationId xmlns:p14="http://schemas.microsoft.com/office/powerpoint/2010/main" val="39701859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:a16="http://schemas.microsoft.com/office/drawing/2014/main" id="{0B9FD335-E78E-45F6-AC14-C8E02D33AC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:a16="http://schemas.microsoft.com/office/drawing/2014/main" id="{0B9FD335-E78E-45F6-AC14-C8E02D33A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14:cNvPr>
              <p14:cNvContentPartPr/>
              <p14:nvPr/>
            </p14:nvContentPartPr>
            <p14:xfrm>
              <a:off x="4819680" y="3448080"/>
              <a:ext cx="360" cy="360"/>
            </p14:xfrm>
          </p:contentPart>
        </mc:Choice>
        <mc:Fallback>
          <p:pic>
            <p:nvPicPr>
              <p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810320" y="3438720"/>
                <a:ext cx="19080" cy="1908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51FC3B50-0CC1-4C80-89A0-BB711CD82973}"/>
              </a:ext>
            </a:extLst>
          </p:cNvPr>
          <p:cNvGraphicFramePr>
            <a:graphicFrameLocks noGrp="1"/>
          </p:cNvGraphicFramePr>
          <p:nvPr/>
        </p:nvGraphicFramePr>
        <p:xfrm>
          <a:off x="170033" y="61641"/>
          <a:ext cx="11851934" cy="66148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8642">
                  <a:extLst>
                    <a:ext uri="{9D8B030D-6E8A-4147-A177-3AD203B41FA5}">
                      <a16:colId xmlns:a16="http://schemas.microsoft.com/office/drawing/2014/main" val="1930586881"/>
                    </a:ext>
                  </a:extLst>
                </a:gridCol>
                <a:gridCol w="1301460">
                  <a:extLst>
                    <a:ext uri="{9D8B030D-6E8A-4147-A177-3AD203B41FA5}">
                      <a16:colId xmlns:a16="http://schemas.microsoft.com/office/drawing/2014/main" val="65136109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3481832030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4206636380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94298075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2756843541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438639913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3424421003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2139200057"/>
                    </a:ext>
                  </a:extLst>
                </a:gridCol>
                <a:gridCol w="1236479">
                  <a:extLst>
                    <a:ext uri="{9D8B030D-6E8A-4147-A177-3AD203B41FA5}">
                      <a16:colId xmlns:a16="http://schemas.microsoft.com/office/drawing/2014/main" val="3983636210"/>
                    </a:ext>
                  </a:extLst>
                </a:gridCol>
              </a:tblGrid>
              <a:tr h="1153549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F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tx1"/>
                          </a:solidFill>
                        </a:rPr>
                        <a:t>Detaljplanlegging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0">
                          <a:solidFill>
                            <a:schemeClr val="tx1"/>
                          </a:solidFill>
                        </a:rPr>
                        <a:t>Detaljplanlegging av endringsarbeidet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nb-NO" sz="900" b="1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ke 16-18</a:t>
                      </a:r>
                    </a:p>
                  </a:txBody>
                  <a:tcPr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Kvalitetssikring</a:t>
                      </a:r>
                      <a:br>
                        <a:rPr lang="nb-NO" sz="900" b="1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lang="nb-NO" sz="900" b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Kvalitetssikre informasjon for videre prosess (GAP og fakta)</a:t>
                      </a:r>
                    </a:p>
                    <a:p>
                      <a:pPr algn="ctr"/>
                      <a:endParaRPr lang="nb-NO" sz="9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ke 17-19</a:t>
                      </a:r>
                      <a:endParaRPr lang="nb-NO" sz="900" b="0">
                        <a:solidFill>
                          <a:schemeClr val="tx1"/>
                        </a:solidFill>
                        <a:cs typeface="Arial"/>
                      </a:endParaRPr>
                    </a:p>
                  </a:txBody>
                  <a:tcPr>
                    <a:solidFill>
                      <a:srgbClr val="C4D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vklaring</a:t>
                      </a:r>
                      <a:br>
                        <a:rPr lang="nb-NO" sz="900" b="1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lang="nb-NO" sz="900" b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trede og avklare rolle og arbeids-organisering</a:t>
                      </a:r>
                    </a:p>
                    <a:p>
                      <a:pPr algn="ctr"/>
                      <a:endParaRPr lang="nb-NO" sz="9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ke 18-21</a:t>
                      </a:r>
                      <a:endParaRPr lang="nb-NO" sz="900" b="0">
                        <a:solidFill>
                          <a:schemeClr val="tx1"/>
                        </a:solidFill>
                        <a:cs typeface="Arial"/>
                      </a:endParaRPr>
                    </a:p>
                  </a:txBody>
                  <a:tcPr>
                    <a:solidFill>
                      <a:srgbClr val="A0D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/>
                          </a:solidFill>
                        </a:rPr>
                        <a:t>Informasjon</a:t>
                      </a:r>
                      <a:br>
                        <a:rPr lang="nb-NO" altLang="en-US" sz="900" b="1">
                          <a:solidFill>
                            <a:srgbClr val="FFFFFF"/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/>
                          </a:solidFill>
                        </a:rPr>
                        <a:t>Informasjon til ansatte samt innspel på prosess og lokal løsning</a:t>
                      </a:r>
                      <a:endParaRPr lang="nb-NO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/>
                          </a:solidFill>
                        </a:rPr>
                        <a:t>Uke 22-23</a:t>
                      </a:r>
                    </a:p>
                  </a:txBody>
                  <a:tcPr>
                    <a:solidFill>
                      <a:srgbClr val="0076A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/>
                          </a:solidFill>
                        </a:rPr>
                        <a:t>Kompetanse-kartlegging</a:t>
                      </a:r>
                      <a:br>
                        <a:rPr lang="nb-NO" altLang="en-US" sz="900" b="1">
                          <a:solidFill>
                            <a:srgbClr val="FFFFFF"/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/>
                          </a:solidFill>
                        </a:rPr>
                        <a:t>Arbeidsoppgaver/</a:t>
                      </a:r>
                      <a:br>
                        <a:rPr lang="nb-NO" altLang="en-US" sz="900" b="0">
                          <a:solidFill>
                            <a:srgbClr val="FFFFFF"/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/>
                          </a:solidFill>
                        </a:rPr>
                        <a:t>kompetanse-kartlegging</a:t>
                      </a:r>
                      <a:endParaRPr lang="nb-NO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/>
                          </a:solidFill>
                        </a:rPr>
                        <a:t>Uke 24-32</a:t>
                      </a:r>
                    </a:p>
                  </a:txBody>
                  <a:tcPr>
                    <a:solidFill>
                      <a:srgbClr val="B01B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tx1"/>
                          </a:solidFill>
                        </a:rPr>
                        <a:t>Vurdering</a:t>
                      </a:r>
                      <a:br>
                        <a:rPr lang="nb-NO" altLang="en-US" sz="900" b="1">
                          <a:solidFill>
                            <a:srgbClr val="000000"/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tx1"/>
                          </a:solidFill>
                        </a:rPr>
                        <a:t>Vurdering og beslutning av endring i arbeidsoppgåver for </a:t>
                      </a:r>
                      <a:br>
                        <a:rPr lang="nb-NO" altLang="en-US" sz="900" b="0">
                          <a:solidFill>
                            <a:srgbClr val="000000"/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tx1"/>
                          </a:solidFill>
                        </a:rPr>
                        <a:t>ansatt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ke 33-35</a:t>
                      </a:r>
                      <a:endParaRPr lang="nb-NO" sz="900" b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solidFill>
                      <a:srgbClr val="F7D01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mstillings-samtaler</a:t>
                      </a:r>
                    </a:p>
                    <a:p>
                      <a:pPr algn="ctr"/>
                      <a:endParaRPr lang="nb-NO" sz="9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ke 35-36</a:t>
                      </a:r>
                      <a:endParaRPr lang="nb-NO" sz="900" b="0">
                        <a:solidFill>
                          <a:schemeClr val="tx1"/>
                        </a:solidFill>
                        <a:cs typeface="Arial"/>
                      </a:endParaRPr>
                    </a:p>
                  </a:txBody>
                  <a:tcPr>
                    <a:solidFill>
                      <a:srgbClr val="009A4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tx1"/>
                          </a:solidFill>
                        </a:rPr>
                        <a:t>Beslutning</a:t>
                      </a:r>
                      <a:endParaRPr lang="nb-NO" sz="90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ke 37-38</a:t>
                      </a:r>
                      <a:endParaRPr lang="nb-NO" sz="900" b="0">
                        <a:solidFill>
                          <a:schemeClr val="tx1"/>
                        </a:solidFill>
                        <a:cs typeface="Arial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tx1"/>
                          </a:solidFill>
                        </a:rPr>
                        <a:t>Innmelding</a:t>
                      </a:r>
                      <a:br>
                        <a:rPr lang="nb-NO" altLang="en-US" sz="900" b="1">
                          <a:solidFill>
                            <a:srgbClr val="000000"/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tx1"/>
                          </a:solidFill>
                        </a:rPr>
                        <a:t>Innmelding av ansatte til opplæring</a:t>
                      </a:r>
                      <a:endParaRPr lang="nb-NO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ke 39</a:t>
                      </a:r>
                      <a:endParaRPr lang="nb-NO" sz="900" b="0">
                        <a:solidFill>
                          <a:schemeClr val="tx1"/>
                        </a:solidFill>
                        <a:cs typeface="Arial"/>
                      </a:endParaRPr>
                    </a:p>
                  </a:txBody>
                  <a:tcPr>
                    <a:solidFill>
                      <a:srgbClr val="86BC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28098"/>
                  </a:ext>
                </a:extLst>
              </a:tr>
              <a:tr h="1952161">
                <a:tc>
                  <a:txBody>
                    <a:bodyPr/>
                    <a:lstStyle/>
                    <a:p>
                      <a:r>
                        <a:rPr lang="nb-NO" sz="900" b="1"/>
                        <a:t>Fakultet/</a:t>
                      </a:r>
                      <a:br>
                        <a:rPr lang="nb-NO" sz="900" b="1"/>
                      </a:br>
                      <a:r>
                        <a:rPr lang="nb-NO" sz="900" b="1"/>
                        <a:t>enhet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nb-NO" sz="900"/>
                        <a:t>Planlegge lokalt arbeid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nb-NO" sz="900"/>
                        <a:t>Sette team for arbeid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endParaRPr lang="nb-NO" sz="90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 på GAP-analyse og tallmateriale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urdere supplement eller justering basert på avklart løsninger innen </a:t>
                      </a:r>
                      <a:r>
                        <a:rPr kumimoji="0" lang="nb-NO" sz="9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tB</a:t>
                      </a: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PØ og Lønn og lønnsnær HR.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nb-NO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stå nye roller og endringer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gjøre plassering av roller (i nivå) innen BOTT </a:t>
                      </a:r>
                      <a:r>
                        <a:rPr lang="nb-NO" sz="900" kern="1200" noProof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ØLs</a:t>
                      </a: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ammer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mensjonering av roller – antall, stillingsandel.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ist: Innmelding av antall i roller innen 27. mai for innmelding til DFØ</a:t>
                      </a:r>
                    </a:p>
                    <a:p>
                      <a:pPr marL="742950" marR="0" lvl="1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nb-NO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i informasjon til alle om plassering og antall roller som er bestemt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nb-NO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taljerte ut gjennomføring og prosess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i informasjon til alle om plassering og antall roller som er bestemt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jennomføre kompetansekartlegging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nb-NO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lhetsvurdere berørte ansattes kompetanse, ønsker og behov opp mot avklarte roller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eslå ny rollefordeling</a:t>
                      </a:r>
                    </a:p>
                    <a:p>
                      <a:endParaRPr lang="nb-NO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:1 samtaler mellom ansatte og nærmeste leder for å diskutere foreslått endring og påvirkning på den enkelte.</a:t>
                      </a:r>
                    </a:p>
                    <a:p>
                      <a:endParaRPr lang="nb-NO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formere ansatte om beslutning om innplassering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ess for opplæring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dsplan for implementering av endring</a:t>
                      </a:r>
                    </a:p>
                    <a:p>
                      <a:endParaRPr lang="nb-NO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lde inn til prosjektet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tablere tidsplan for implementering av endring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legge og gjennomføre oppfølging og</a:t>
                      </a:r>
                      <a:r>
                        <a:rPr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evaluering i 2022.</a:t>
                      </a:r>
                    </a:p>
                    <a:p>
                      <a:endParaRPr lang="nb-NO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543973"/>
                  </a:ext>
                </a:extLst>
              </a:tr>
              <a:tr h="1253455">
                <a:tc>
                  <a:txBody>
                    <a:bodyPr/>
                    <a:lstStyle/>
                    <a:p>
                      <a:r>
                        <a:rPr lang="nb-NO" sz="900" b="0" i="1"/>
                        <a:t>Fase-resultat:</a:t>
                      </a:r>
                      <a:br>
                        <a:rPr lang="nb-NO" sz="900" b="0" i="1"/>
                      </a:br>
                      <a:br>
                        <a:rPr lang="nb-NO" sz="900" b="0" i="1"/>
                      </a:br>
                      <a:r>
                        <a:rPr lang="nb-NO" sz="900" b="1" i="1"/>
                        <a:t>Enh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indent="-85725" algn="l" defTabSz="60958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9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lar til end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lstrekkelig innsikt for arbeid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nmeldte antall roller til prosjektet.</a:t>
                      </a:r>
                    </a:p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øypemelding organisering</a:t>
                      </a:r>
                    </a:p>
                    <a:p>
                      <a:pPr marL="85725" marR="0" lvl="1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formasjon til LOSAM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midlet ny arbeidsorganisering og roller til ansatte</a:t>
                      </a:r>
                    </a:p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handling i LOS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ukturert og dokumentert innsikt i alle relevante ansattes kompetanse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9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1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tatt fordeling av ansatte i nye roller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mstillingssamtaler med berørte ansatte gjennomfø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slutning om innplass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nmeldt ansatte til opplæring</a:t>
                      </a:r>
                    </a:p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lan for implementering</a:t>
                      </a:r>
                    </a:p>
                    <a:p>
                      <a:pPr marL="85725" marR="0" lvl="1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øp for evaluer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763977"/>
                  </a:ext>
                </a:extLst>
              </a:tr>
              <a:tr h="2160968">
                <a:tc>
                  <a:txBody>
                    <a:bodyPr/>
                    <a:lstStyle/>
                    <a:p>
                      <a:r>
                        <a:rPr lang="nb-NO" sz="900" b="1" i="1" err="1"/>
                        <a:t>Prosj</a:t>
                      </a:r>
                      <a:r>
                        <a:rPr lang="nb-NO" sz="900" b="1" i="1"/>
                        <a:t>-ektet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er for prosess (denne)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skrivelse av roller, anbefalinger og handlingsrom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formasjons-pakke til bruk på møter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todikk for kompetanse-kartlegging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todikk for vurdering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todikk for omstillings-samtaler</a:t>
                      </a:r>
                    </a:p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pPr marL="85725" marR="0" lvl="0" indent="-8572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øtte til fasilitering, gjennomføring av aktiviteter og fremgangsmåte ved behov.</a:t>
                      </a:r>
                      <a:r>
                        <a:rPr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nb-NO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nb-NO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iledning etter behov</a:t>
                      </a:r>
                    </a:p>
                    <a:p>
                      <a:endParaRPr lang="nb-NO" i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1077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57166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E6474E-7A36-4456-839F-0D3F6E285F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E6474E-7A36-4456-839F-0D3F6E285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" name="Rectangle 141" hidden="1">
            <a:extLst>
              <a:ext uri="{FF2B5EF4-FFF2-40B4-BE49-F238E27FC236}">
                <a16:creationId xmlns:a16="http://schemas.microsoft.com/office/drawing/2014/main" id="{1DDBB3A6-2CC7-47D1-B4D8-0159A2F5A9E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2" name="Rectangle 181" hidden="1">
            <a:extLst>
              <a:ext uri="{FF2B5EF4-FFF2-40B4-BE49-F238E27FC236}">
                <a16:creationId xmlns:a16="http://schemas.microsoft.com/office/drawing/2014/main" id="{3DB8DB2D-6EDE-4548-B3F2-D10F100A7D3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480E8F46-4501-4902-90E5-2D375993D6A4}"/>
              </a:ext>
            </a:extLst>
          </p:cNvPr>
          <p:cNvSpPr/>
          <p:nvPr/>
        </p:nvSpPr>
        <p:spPr>
          <a:xfrm>
            <a:off x="111126" y="1323975"/>
            <a:ext cx="5889620" cy="505300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krivelse av f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denne fasen bør man legge en helhetlig plan for arbeidet frem til innmelding av ansatte. Dette gjelder mellom annet å: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nlegge formelle møter (allmøter, LOSAM,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.m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i god tid slik at disse kan gjennomføres og at det skapes en forutsigbar prosess for ansatte og ledere.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tte et team for arbeidet og avgjøre hvem som gjør hva. Eksempler på hvem som kan/bør være med er representant lederlinje, HR-ressurs, fagperson, innføringsleder og tillitsvalgte/verneombu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ste et blikk på interessentanalysen og vurdere behov for supplering (har vi kartlagt de viktigste interessentene for dette arbeidet)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mmunisere ut plan for arbeidet, hva som skal skje når, og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ringsrasjonale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Vi har lagt til noen gode tips og triks knyttet til endringsledelse lengre nede i dette dokumentet.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5244B7EC-D7B2-4A37-8DA7-C23446755982}"/>
              </a:ext>
            </a:extLst>
          </p:cNvPr>
          <p:cNvSpPr/>
          <p:nvPr/>
        </p:nvSpPr>
        <p:spPr>
          <a:xfrm>
            <a:off x="6226176" y="1319212"/>
            <a:ext cx="5889620" cy="231933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ksessfaktor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forståelse for prosess, roller og endringer som skal gjennomfør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rask etablering av et team som skal lede og fasilitere fram endringer og prosess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mmunikasjon ut til ansatte om plan, rammer m.m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BDDFF152-5153-48EC-8C62-B9D32D38A9D2}"/>
              </a:ext>
            </a:extLst>
          </p:cNvPr>
          <p:cNvSpPr/>
          <p:nvPr/>
        </p:nvSpPr>
        <p:spPr>
          <a:xfrm>
            <a:off x="6226176" y="4057649"/>
            <a:ext cx="5889620" cy="231933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ulta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et planlagt med klare frister og datoer (kommuniser gjerne en overordnet plan til prosjekte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øte kalt inn til for å sikre at folk har ti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am for endring satt slik at arbeidet kan begyn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631F21E-19B6-4AA8-B88E-6AABBA045DE5}"/>
              </a:ext>
            </a:extLst>
          </p:cNvPr>
          <p:cNvGraphicFramePr>
            <a:graphicFrameLocks noGrp="1"/>
          </p:cNvGraphicFramePr>
          <p:nvPr/>
        </p:nvGraphicFramePr>
        <p:xfrm>
          <a:off x="111126" y="73342"/>
          <a:ext cx="12004672" cy="1153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800">
                  <a:extLst>
                    <a:ext uri="{9D8B030D-6E8A-4147-A177-3AD203B41FA5}">
                      <a16:colId xmlns:a16="http://schemas.microsoft.com/office/drawing/2014/main" val="4067136508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19865309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565873337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45897871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245719088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4074714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63880535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77074454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610833690"/>
                    </a:ext>
                  </a:extLst>
                </a:gridCol>
              </a:tblGrid>
              <a:tr h="1153549"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tx1"/>
                          </a:solidFill>
                        </a:rPr>
                        <a:t>Detaljplanlegging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0">
                          <a:solidFill>
                            <a:schemeClr val="tx1"/>
                          </a:solidFill>
                        </a:rPr>
                        <a:t>Detaljplanlegging av endringsarbeidet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Uke 16-18</a:t>
                      </a:r>
                    </a:p>
                  </a:txBody>
                  <a:tcPr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Kvalitetssikring</a:t>
                      </a:r>
                      <a:b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Kvalitetssikre informasjon for videre prosess (GAP og fakta)</a:t>
                      </a: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17-19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vklaring</a:t>
                      </a:r>
                      <a:b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trede og avklare rolle og arbeids-organisering</a:t>
                      </a: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18-21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formasjon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formasjon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til ansatte samt </a:t>
                      </a: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spel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på prosess og lokal løsn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Uke 22-23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ompetanse-kartlegg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rbeidsoppgaver/</a:t>
                      </a:r>
                      <a:b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ompetanse-kartlegg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Uke 24-32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Vurder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Vurdering og beslutning av endring i </a:t>
                      </a: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rbeidsoppgåver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for </a:t>
                      </a:r>
                      <a:b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nsatt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3-35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Omstillings-samtaler</a:t>
                      </a: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5-36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Beslutning</a:t>
                      </a:r>
                      <a:endParaRPr lang="nb-NO" sz="900" b="1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7-38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meld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melding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av ansatte til opplær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9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952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103802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E6474E-7A36-4456-839F-0D3F6E285F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E6474E-7A36-4456-839F-0D3F6E285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" name="Rectangle 141" hidden="1">
            <a:extLst>
              <a:ext uri="{FF2B5EF4-FFF2-40B4-BE49-F238E27FC236}">
                <a16:creationId xmlns:a16="http://schemas.microsoft.com/office/drawing/2014/main" id="{1DDBB3A6-2CC7-47D1-B4D8-0159A2F5A9E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2" name="Rectangle 181" hidden="1">
            <a:extLst>
              <a:ext uri="{FF2B5EF4-FFF2-40B4-BE49-F238E27FC236}">
                <a16:creationId xmlns:a16="http://schemas.microsoft.com/office/drawing/2014/main" id="{3DB8DB2D-6EDE-4548-B3F2-D10F100A7D3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480E8F46-4501-4902-90E5-2D375993D6A4}"/>
              </a:ext>
            </a:extLst>
          </p:cNvPr>
          <p:cNvSpPr/>
          <p:nvPr/>
        </p:nvSpPr>
        <p:spPr>
          <a:xfrm>
            <a:off x="111126" y="1323975"/>
            <a:ext cx="5889620" cy="505300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krivelse av f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denne fasen bør man sikre at teamet har tilgang til oppdatert og rett informasjon (GAP, m.m.) slik at prosjektet har tilstrekkelig innsikt og grunnlag for å fatte beslutninger. Her bør man: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le og se på eksisterende GAP-analysen, lister eller andre data man ser for seg å skulle bruke i prosessen vide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alitetssikre og ev. supplerer manglende data slik at man har den informasjonen som trengs for å fatte beslutning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 stilling til om man må innhente mer data eller informasjon for å gjøre de vurderinger man skal gjøre i neste fas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te arbeidet bør foregå i parallell med avklaringsfasen slik at man sikre fremdrift, og ev. kan innhente mer informasjon om dette trengs.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5244B7EC-D7B2-4A37-8DA7-C23446755982}"/>
              </a:ext>
            </a:extLst>
          </p:cNvPr>
          <p:cNvSpPr/>
          <p:nvPr/>
        </p:nvSpPr>
        <p:spPr>
          <a:xfrm>
            <a:off x="6226176" y="1319212"/>
            <a:ext cx="5889620" cy="231933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ksessfaktor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rask forståelse for prosess, roller og endringer som er avklart, samt forståelse for mulighetene som er git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sikt i GAP-analyse og annen data man ser for seg å bruke prosess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BDDFF152-5153-48EC-8C62-B9D32D38A9D2}"/>
              </a:ext>
            </a:extLst>
          </p:cNvPr>
          <p:cNvSpPr/>
          <p:nvPr/>
        </p:nvSpPr>
        <p:spPr>
          <a:xfrm>
            <a:off x="6226176" y="4057649"/>
            <a:ext cx="5889620" cy="231933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ulta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strekkelig data og innsikt til å gjøre vurderinger og avklar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631F21E-19B6-4AA8-B88E-6AABBA045DE5}"/>
              </a:ext>
            </a:extLst>
          </p:cNvPr>
          <p:cNvGraphicFramePr>
            <a:graphicFrameLocks noGrp="1"/>
          </p:cNvGraphicFramePr>
          <p:nvPr/>
        </p:nvGraphicFramePr>
        <p:xfrm>
          <a:off x="111126" y="73342"/>
          <a:ext cx="12004672" cy="1153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800">
                  <a:extLst>
                    <a:ext uri="{9D8B030D-6E8A-4147-A177-3AD203B41FA5}">
                      <a16:colId xmlns:a16="http://schemas.microsoft.com/office/drawing/2014/main" val="4067136508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19865309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565873337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45897871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245719088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4074714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63880535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77074454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610833690"/>
                    </a:ext>
                  </a:extLst>
                </a:gridCol>
              </a:tblGrid>
              <a:tr h="1153549"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etaljplanlegging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etaljplanlegging av endringsarbeidet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16-18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Kvalitetssikring</a:t>
                      </a:r>
                      <a:b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Kvalitetssikre informasjon for videre prosess (GAP og fakta)</a:t>
                      </a:r>
                    </a:p>
                    <a:p>
                      <a:pPr algn="ctr"/>
                      <a:endParaRPr lang="nb-NO" sz="9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Uke 17-19</a:t>
                      </a:r>
                      <a:endParaRPr lang="nb-NO" sz="9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4D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vklaring</a:t>
                      </a:r>
                      <a:b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trede og avklare rolle og arbeids-organisering</a:t>
                      </a: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18-21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formasjon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formasjon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til ansatte samt </a:t>
                      </a: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spel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på prosess og lokal løsn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Uke 22-23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ompetanse-kartlegg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rbeidsoppgaver/</a:t>
                      </a:r>
                      <a:b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ompetanse-kartlegg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Uke 24-32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Vurder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Vurdering og beslutning av endring i </a:t>
                      </a: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rbeidsoppgåver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for </a:t>
                      </a:r>
                      <a:b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nsatt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3-35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Omstillings-samtaler</a:t>
                      </a: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5-36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Beslutning</a:t>
                      </a:r>
                      <a:endParaRPr lang="nb-NO" sz="900" b="1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7-38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meld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melding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av ansatte til opplær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9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952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41143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E6474E-7A36-4456-839F-0D3F6E285F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E6474E-7A36-4456-839F-0D3F6E285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" name="Rectangle 141" hidden="1">
            <a:extLst>
              <a:ext uri="{FF2B5EF4-FFF2-40B4-BE49-F238E27FC236}">
                <a16:creationId xmlns:a16="http://schemas.microsoft.com/office/drawing/2014/main" id="{1DDBB3A6-2CC7-47D1-B4D8-0159A2F5A9E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2" name="Rectangle 181" hidden="1">
            <a:extLst>
              <a:ext uri="{FF2B5EF4-FFF2-40B4-BE49-F238E27FC236}">
                <a16:creationId xmlns:a16="http://schemas.microsoft.com/office/drawing/2014/main" id="{3DB8DB2D-6EDE-4548-B3F2-D10F100A7D3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480E8F46-4501-4902-90E5-2D375993D6A4}"/>
              </a:ext>
            </a:extLst>
          </p:cNvPr>
          <p:cNvSpPr/>
          <p:nvPr/>
        </p:nvSpPr>
        <p:spPr>
          <a:xfrm>
            <a:off x="111126" y="1323975"/>
            <a:ext cx="5889620" cy="505300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krivelse av f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denne fasen skal man vurdere, utrede og avklare hvordan enheten vil organisere de ulike rollene og endringene som kommer med BOTT Ø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r er det viktig å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stå hvilken rammer BOTT ØL og løsninger som er fremlagt gir og forholde seg til disse – det er et formål gjennom BOTT å få til standardisering og profesjonalisering av roll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gjøre plassering av roller (i nivå) – skal det være på fakultet eller institutt, eller annen plasserin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urdere dimensjonering av roller – antall og stillingsandel opp mot de behovet man ser i en fremtidig organis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ngå å diskutere personer i roller i dag – se på helhetlig behov frem i tid – kompetansekartlegging skal gjennomføres sene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i tydelig informasjon til ansatte om prosess, formål og kriteri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i informasjon i LOSA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5244B7EC-D7B2-4A37-8DA7-C23446755982}"/>
              </a:ext>
            </a:extLst>
          </p:cNvPr>
          <p:cNvSpPr/>
          <p:nvPr/>
        </p:nvSpPr>
        <p:spPr>
          <a:xfrm>
            <a:off x="6226176" y="1319212"/>
            <a:ext cx="5889620" cy="231933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ksessfaktor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stått roller og endringer som komm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stått handlingsrommet som enheten har og holdt seg innenfor dett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ryddig prosess med klare kriteri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kus på roller, andeler og behov – ikke på person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BDDFF152-5153-48EC-8C62-B9D32D38A9D2}"/>
              </a:ext>
            </a:extLst>
          </p:cNvPr>
          <p:cNvSpPr/>
          <p:nvPr/>
        </p:nvSpPr>
        <p:spPr>
          <a:xfrm>
            <a:off x="6226176" y="4057649"/>
            <a:ext cx="5889620" cy="231933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ulta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var på roller og antall levert til prosjektet innen 27. mai for innmelding til DF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øypemelding om organisering sendt til prosjekt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mtidig organisering (arbeidsorganisering) avklart (hva har vi på hvilke nivåer, og hvordan skal vi jobber) som utgangspunkt for kompetansekartlegging og innplass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631F21E-19B6-4AA8-B88E-6AABBA045DE5}"/>
              </a:ext>
            </a:extLst>
          </p:cNvPr>
          <p:cNvGraphicFramePr>
            <a:graphicFrameLocks noGrp="1"/>
          </p:cNvGraphicFramePr>
          <p:nvPr/>
        </p:nvGraphicFramePr>
        <p:xfrm>
          <a:off x="111126" y="73342"/>
          <a:ext cx="12004672" cy="1153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800">
                  <a:extLst>
                    <a:ext uri="{9D8B030D-6E8A-4147-A177-3AD203B41FA5}">
                      <a16:colId xmlns:a16="http://schemas.microsoft.com/office/drawing/2014/main" val="4067136508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19865309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565873337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45897871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245719088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74074714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63880535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770744546"/>
                    </a:ext>
                  </a:extLst>
                </a:gridCol>
                <a:gridCol w="1326109">
                  <a:extLst>
                    <a:ext uri="{9D8B030D-6E8A-4147-A177-3AD203B41FA5}">
                      <a16:colId xmlns:a16="http://schemas.microsoft.com/office/drawing/2014/main" val="1610833690"/>
                    </a:ext>
                  </a:extLst>
                </a:gridCol>
              </a:tblGrid>
              <a:tr h="1153549"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etaljplanlegging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etaljplanlegging av endringsarbeidet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16-18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Kvalitetssikring</a:t>
                      </a:r>
                      <a:b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Kvalitetssikre informasjon for videre prosess (GAP og fakta)</a:t>
                      </a: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17-19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Avklaring</a:t>
                      </a:r>
                      <a:br>
                        <a:rPr lang="nb-NO" sz="900" b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nb-NO" sz="90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Utrede og avklare rolle og arbeids-organisering</a:t>
                      </a:r>
                    </a:p>
                    <a:p>
                      <a:pPr algn="ctr"/>
                      <a:endParaRPr lang="nb-NO" sz="9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Uke 18-21</a:t>
                      </a:r>
                      <a:endParaRPr lang="nb-NO" sz="9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A0D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formasjon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formasjon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til ansatte samt </a:t>
                      </a: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spel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på prosess og lokal løsn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Uke 22-23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ompetanse-kartlegg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rbeidsoppgaver/</a:t>
                      </a:r>
                      <a:b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ompetanse-kartlegg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Uke 24-32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Vurder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Vurdering og beslutning av endring i </a:t>
                      </a: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rbeidsoppgåver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for </a:t>
                      </a:r>
                      <a:b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nsatt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3-35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Omstillings-samtaler</a:t>
                      </a: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5-36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Beslutning</a:t>
                      </a:r>
                      <a:endParaRPr lang="nb-NO" sz="900" b="1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7-38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melding</a:t>
                      </a:r>
                      <a:br>
                        <a:rPr lang="nb-NO" altLang="en-US" sz="9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</a:br>
                      <a:r>
                        <a:rPr lang="nb-NO" altLang="en-US" sz="900" b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nmelding</a:t>
                      </a:r>
                      <a:r>
                        <a:rPr lang="nb-NO" altLang="en-US" sz="9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av ansatte til opplæring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nb-NO" sz="900" b="0" u="sng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ke 39</a:t>
                      </a:r>
                      <a:endParaRPr lang="nb-NO" sz="900" b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952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825653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377712"/>
              </p:ext>
            </p:extLst>
          </p:nvPr>
        </p:nvGraphicFramePr>
        <p:xfrm>
          <a:off x="401849" y="1211668"/>
          <a:ext cx="5917928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28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 dirty="0">
                          <a:solidFill>
                            <a:schemeClr val="bg1"/>
                          </a:solidFill>
                        </a:rPr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251372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251372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76675944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BE40C0F-3853-4B6E-AD5B-09671A8A2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0692278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C28DE4-487C-46C1-894E-EE4A898E6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C28DE4-487C-46C1-894E-EE4A898E6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E63F45-8C16-427D-9237-E7552F189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76C26B-C0BD-40B7-8ACD-46FC653A5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6" y="397785"/>
            <a:ext cx="11556473" cy="833178"/>
          </a:xfrm>
        </p:spPr>
        <p:txBody>
          <a:bodyPr/>
          <a:lstStyle/>
          <a:p>
            <a:r>
              <a:rPr lang="nb-NO"/>
              <a:t>Spørsmål og svar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070D1D-099B-4D95-BE9F-E047FA7005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8532" y="1404583"/>
            <a:ext cx="3746256" cy="43391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F0886B6-CC35-4914-B0DD-CED77354A257}"/>
              </a:ext>
            </a:extLst>
          </p:cNvPr>
          <p:cNvSpPr txBox="1"/>
          <p:nvPr/>
        </p:nvSpPr>
        <p:spPr>
          <a:xfrm>
            <a:off x="706056" y="2060294"/>
            <a:ext cx="43405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Gå til menti.com</a:t>
            </a:r>
          </a:p>
          <a:p>
            <a:r>
              <a:rPr lang="nb-NO" dirty="0"/>
              <a:t>Kode: </a:t>
            </a:r>
            <a:r>
              <a:rPr lang="nb-NO" b="1" dirty="0"/>
              <a:t>3379 0067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545154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2523230"/>
              </p:ext>
            </p:extLst>
          </p:nvPr>
        </p:nvGraphicFramePr>
        <p:xfrm>
          <a:off x="401847" y="1211668"/>
          <a:ext cx="5917930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30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 dirty="0">
                          <a:solidFill>
                            <a:schemeClr val="tx1"/>
                          </a:solidFill>
                        </a:rPr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 dirty="0">
                          <a:solidFill>
                            <a:schemeClr val="bg1"/>
                          </a:solidFill>
                        </a:rPr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 dirty="0">
                          <a:solidFill>
                            <a:schemeClr val="tx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9041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BE40C0F-3853-4B6E-AD5B-09671A8A2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830669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571842"/>
          </a:xfrm>
        </p:spPr>
        <p:txBody>
          <a:bodyPr/>
          <a:lstStyle/>
          <a:p>
            <a:r>
              <a:rPr lang="nb-NO" dirty="0"/>
              <a:t>Agenda</a:t>
            </a:r>
            <a:br>
              <a:rPr lang="nb-NO" dirty="0"/>
            </a:br>
            <a:endParaRPr lang="nb-NO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462251"/>
              </p:ext>
            </p:extLst>
          </p:nvPr>
        </p:nvGraphicFramePr>
        <p:xfrm>
          <a:off x="401849" y="1211668"/>
          <a:ext cx="5917928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28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 dirty="0">
                          <a:solidFill>
                            <a:schemeClr val="bg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3245363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14F4D32-3E81-43C3-A17E-C463A2C7CB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7230107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7403859"/>
              </p:ext>
            </p:extLst>
          </p:nvPr>
        </p:nvGraphicFramePr>
        <p:xfrm>
          <a:off x="401849" y="1211668"/>
          <a:ext cx="5917928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28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 dirty="0">
                          <a:solidFill>
                            <a:schemeClr val="tx1"/>
                          </a:solidFill>
                        </a:rPr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 dirty="0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519089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BE40C0F-3853-4B6E-AD5B-09671A8A2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937931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3C8CDC-A139-49AE-97D0-CE7D79BF06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546" y="0"/>
            <a:ext cx="12191999" cy="748026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AE0CC15-C0CB-4E71-A026-E145A1F2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501" y="2564317"/>
            <a:ext cx="11224996" cy="864683"/>
          </a:xfrm>
        </p:spPr>
        <p:txBody>
          <a:bodyPr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5503279"/>
              </p:ext>
            </p:extLst>
          </p:nvPr>
        </p:nvGraphicFramePr>
        <p:xfrm>
          <a:off x="401849" y="1211668"/>
          <a:ext cx="5917928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28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dirty="0">
                          <a:solidFill>
                            <a:schemeClr val="bg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7205249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27B6B6C-0963-41FF-B4A1-486DA3C2DB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851185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600439"/>
          </a:xfrm>
        </p:spPr>
        <p:txBody>
          <a:bodyPr/>
          <a:lstStyle/>
          <a:p>
            <a:r>
              <a:rPr lang="nb-NO"/>
              <a:t>Mål for dagen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90" indent="-380990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6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85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793" y="1075543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4038113" y="1172901"/>
            <a:ext cx="6916573" cy="474732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733994" y="2561789"/>
            <a:ext cx="6834880" cy="164154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endParaRPr lang="nb-NO" sz="2667" dirty="0">
              <a:solidFill>
                <a:srgbClr val="000000"/>
              </a:solidFill>
              <a:latin typeface="Arial" panose="020B0604020202020204"/>
              <a:ea typeface="+mn-lt"/>
              <a:cs typeface="Arial" panose="020B0604020202020204"/>
            </a:endParaRPr>
          </a:p>
          <a:p>
            <a:pPr algn="ctr" defTabSz="609585">
              <a:defRPr/>
            </a:pP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Gi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informasjon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arbeidet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så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langt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i BOTT ØL</a:t>
            </a:r>
          </a:p>
          <a:p>
            <a:pPr algn="ctr" defTabSz="609585">
              <a:defRPr/>
            </a:pP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Informere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om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hva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som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skal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skje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framover</a:t>
            </a:r>
            <a:endParaRPr lang="en-US" sz="2400" dirty="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algn="ctr" defTabSz="609585">
              <a:defRPr/>
            </a:pP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Svare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på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spørsmål</a:t>
            </a:r>
            <a:endParaRPr lang="en-US" sz="2400" dirty="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9972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026645"/>
              </p:ext>
            </p:extLst>
          </p:nvPr>
        </p:nvGraphicFramePr>
        <p:xfrm>
          <a:off x="401849" y="1211668"/>
          <a:ext cx="5917928" cy="29260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917928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dirty="0">
                          <a:solidFill>
                            <a:schemeClr val="bg1"/>
                          </a:solidFill>
                        </a:rPr>
                        <a:t>Status BOTT ØL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lag for videre arbeid på fakultet/Fellesadministrasjonen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Gjennomføring endringsarbeid</a:t>
                      </a:r>
                      <a:endParaRPr lang="nb-NO" sz="160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251372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Innspill/refleksjon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  <a:tr h="251372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 dirty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96595320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DEDE78A-474B-4D61-8164-6A30EAAA99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3487" y="830126"/>
            <a:ext cx="4803356" cy="5497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72422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541FB-7ADC-4C47-8A38-8A2F6F736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502" y="200165"/>
            <a:ext cx="11224996" cy="864683"/>
          </a:xfrm>
        </p:spPr>
        <p:txBody>
          <a:bodyPr/>
          <a:lstStyle/>
          <a:p>
            <a:r>
              <a:rPr lang="nb-NO"/>
              <a:t>Ambisjonsnivå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F141C2-3513-46A5-9EC3-099D1E773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3502" y="1064847"/>
            <a:ext cx="11006884" cy="5123168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marL="0" indent="0" fontAlgn="base">
              <a:buNone/>
            </a:pPr>
            <a:r>
              <a:rPr lang="nb-NO" sz="1467" b="1"/>
              <a:t>Sikker drift:</a:t>
            </a:r>
            <a:r>
              <a:rPr lang="nb-NO" sz="1467"/>
              <a:t> Fokus på sikker drift har gjort at vi ikke har hatt avbrudd, mistet data eller andre uforutsette hendelser i prosjektperioden. ​</a:t>
            </a:r>
          </a:p>
          <a:p>
            <a:pPr marL="0" indent="0" fontAlgn="base">
              <a:buNone/>
            </a:pPr>
            <a:endParaRPr lang="nb-NO" sz="1467"/>
          </a:p>
          <a:p>
            <a:pPr marL="0" indent="0" fontAlgn="base">
              <a:buNone/>
            </a:pPr>
            <a:r>
              <a:rPr lang="nb-NO" sz="1467" b="1"/>
              <a:t>Sømløs overgang:</a:t>
            </a:r>
            <a:r>
              <a:rPr lang="nb-NO" sz="1467"/>
              <a:t> Vi har hatt en sømløs overgang til nye systemer - alt fungerer 1. januar 2022 og de nye systemene henger sammen med eksisterende løsninger på NTNU. </a:t>
            </a:r>
          </a:p>
          <a:p>
            <a:pPr marL="0" indent="0" fontAlgn="base">
              <a:buNone/>
            </a:pPr>
            <a:endParaRPr lang="nb-NO" sz="1467" b="1"/>
          </a:p>
          <a:p>
            <a:pPr marL="0" indent="0" fontAlgn="base">
              <a:buNone/>
            </a:pPr>
            <a:r>
              <a:rPr lang="nb-NO" sz="1467" b="1"/>
              <a:t>Bedre virksomhetsstyring: </a:t>
            </a:r>
            <a:r>
              <a:rPr lang="nb-NO" sz="1467"/>
              <a:t>Ny økonomimodell og regnskapsprinsipper er fullt ut implementert og vi bedriver bedre virksomhetsstyring med nye systemer påkoblet BEVISST. </a:t>
            </a:r>
            <a:r>
              <a:rPr lang="en-US" sz="1467"/>
              <a:t>​</a:t>
            </a:r>
          </a:p>
          <a:p>
            <a:pPr marL="0" indent="0" fontAlgn="base">
              <a:buNone/>
            </a:pPr>
            <a:endParaRPr lang="nb-NO" sz="1467"/>
          </a:p>
          <a:p>
            <a:pPr marL="0" indent="0" fontAlgn="base">
              <a:buNone/>
            </a:pPr>
            <a:r>
              <a:rPr lang="nb-NO" sz="1467"/>
              <a:t>​</a:t>
            </a:r>
            <a:r>
              <a:rPr lang="nb-NO" sz="1467" b="1"/>
              <a:t>Bedre og mer effektive prosesser og videreutviklede roller</a:t>
            </a:r>
            <a:r>
              <a:rPr lang="nb-NO" sz="1467"/>
              <a:t>​</a:t>
            </a:r>
          </a:p>
          <a:p>
            <a:pPr marL="0" indent="0" fontAlgn="base">
              <a:buNone/>
            </a:pPr>
            <a:r>
              <a:rPr lang="nb-NO" sz="1467"/>
              <a:t>	Vi har gjennomgått </a:t>
            </a:r>
            <a:r>
              <a:rPr lang="nb-NO" sz="1467" err="1"/>
              <a:t>BOTTs</a:t>
            </a:r>
            <a:r>
              <a:rPr lang="nb-NO" sz="1467"/>
              <a:t> roller og prosesser og sett på hvordan disse kan implementeres på tvers av nivåene med 	hensikt å finne den beste løsningen for NTNU. ​</a:t>
            </a:r>
          </a:p>
          <a:p>
            <a:pPr marL="0" indent="0" fontAlgn="base">
              <a:buNone/>
            </a:pPr>
            <a:r>
              <a:rPr lang="nb-NO" sz="1467"/>
              <a:t>	Endringsbehov </a:t>
            </a:r>
            <a:r>
              <a:rPr lang="nb-NO" sz="1467" err="1"/>
              <a:t>ifht</a:t>
            </a:r>
            <a:r>
              <a:rPr lang="nb-NO" sz="1467"/>
              <a:t>. dagens situasjon kartlagt og brukt som grunnlag for å fastsette hva som kan implementeres i 2021, og 	hva som implementeres påfølgende år. ​</a:t>
            </a:r>
            <a:br>
              <a:rPr lang="nb-NO" sz="1467"/>
            </a:br>
            <a:r>
              <a:rPr lang="nb-NO" sz="1467"/>
              <a:t>​</a:t>
            </a:r>
          </a:p>
          <a:p>
            <a:pPr marL="0" indent="0" fontAlgn="base">
              <a:buNone/>
            </a:pPr>
            <a:r>
              <a:rPr lang="nb-NO" sz="1467" b="1"/>
              <a:t>Tydelige mål: </a:t>
            </a:r>
            <a:r>
              <a:rPr lang="nb-NO" sz="1467"/>
              <a:t>Vi har konkretisert mål for funksjonsområdet for å sikre at vi er samstemt om hvordan funksjonene skal se ut i 2025 i lys av NTNUs strategi, virksomhetsmål for administrasjonen (mål 8) og </a:t>
            </a:r>
            <a:r>
              <a:rPr lang="nb-NO" sz="1467" err="1"/>
              <a:t>BOTTs</a:t>
            </a:r>
            <a:r>
              <a:rPr lang="nb-NO" sz="1467"/>
              <a:t> føringer.​</a:t>
            </a:r>
            <a:br>
              <a:rPr lang="nb-NO" sz="1467"/>
            </a:br>
            <a:r>
              <a:rPr lang="nb-NO" sz="1467"/>
              <a:t>​</a:t>
            </a:r>
          </a:p>
          <a:p>
            <a:pPr marL="0" indent="0" fontAlgn="base">
              <a:buNone/>
            </a:pPr>
            <a:r>
              <a:rPr lang="nb-NO" sz="1467" b="1"/>
              <a:t>Bygget kapasitet og kompetanse:</a:t>
            </a:r>
            <a:r>
              <a:rPr lang="nb-NO" sz="1467"/>
              <a:t> Vi har i 2021 benyttet muligheten gjennom arbeidet med BOTT ØL til å bygge kapasitet og kompetanse som grunnlag for videre utviklingsarbeid.</a:t>
            </a:r>
            <a:endParaRPr lang="en-US" sz="1467"/>
          </a:p>
          <a:p>
            <a:pPr marL="0" indent="0">
              <a:buNone/>
            </a:pPr>
            <a:endParaRPr lang="nb-NO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E10DF89F-7120-4B25-A68C-4F6554287F6B}"/>
              </a:ext>
            </a:extLst>
          </p:cNvPr>
          <p:cNvSpPr/>
          <p:nvPr/>
        </p:nvSpPr>
        <p:spPr>
          <a:xfrm>
            <a:off x="731520" y="3706369"/>
            <a:ext cx="312115" cy="399897"/>
          </a:xfrm>
          <a:prstGeom prst="downArrow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1F3218BB-4B9F-4646-AABD-E281145EF7B4}"/>
              </a:ext>
            </a:extLst>
          </p:cNvPr>
          <p:cNvSpPr/>
          <p:nvPr/>
        </p:nvSpPr>
        <p:spPr>
          <a:xfrm>
            <a:off x="741273" y="4211930"/>
            <a:ext cx="312115" cy="399897"/>
          </a:xfrm>
          <a:prstGeom prst="downArrow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10297643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937DDF-BEA5-432A-A94B-2932BBA3E0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937DDF-BEA5-432A-A94B-2932BBA3E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Diagram 69">
            <a:extLst>
              <a:ext uri="{FF2B5EF4-FFF2-40B4-BE49-F238E27FC236}">
                <a16:creationId xmlns:a16="http://schemas.microsoft.com/office/drawing/2014/main" id="{24A0A3D9-AC06-4CD3-997F-3992696568AD}"/>
              </a:ext>
            </a:extLst>
          </p:cNvPr>
          <p:cNvGraphicFramePr/>
          <p:nvPr/>
        </p:nvGraphicFramePr>
        <p:xfrm>
          <a:off x="15128" y="439386"/>
          <a:ext cx="12115763" cy="963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C7433510-A632-4AFF-A961-B9CBC14C438F}"/>
                  </a:ext>
                </a:extLst>
              </p14:cNvPr>
              <p14:cNvContentPartPr/>
              <p14:nvPr/>
            </p14:nvContentPartPr>
            <p14:xfrm>
              <a:off x="1344318" y="1516253"/>
              <a:ext cx="10134689" cy="4488328"/>
            </p14:xfrm>
          </p:contentPart>
        </mc:Choice>
        <mc:Fallback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C7433510-A632-4AFF-A961-B9CBC14C438F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306159" y="1478088"/>
                <a:ext cx="10210646" cy="4564298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F8F11F3F-8737-4BDC-A119-01ED74126620}"/>
              </a:ext>
            </a:extLst>
          </p:cNvPr>
          <p:cNvSpPr/>
          <p:nvPr/>
        </p:nvSpPr>
        <p:spPr>
          <a:xfrm>
            <a:off x="905393" y="1622854"/>
            <a:ext cx="1743537" cy="12766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" name="Tittel 1">
            <a:extLst>
              <a:ext uri="{FF2B5EF4-FFF2-40B4-BE49-F238E27FC236}">
                <a16:creationId xmlns:a16="http://schemas.microsoft.com/office/drawing/2014/main" id="{DF0CE00B-1BE9-4657-875C-C4BC6D15F29F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Gjennomføring av prosessgjennomga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B78359-BE81-4542-BFA2-27FD3C4F6859}"/>
              </a:ext>
            </a:extLst>
          </p:cNvPr>
          <p:cNvSpPr txBox="1"/>
          <p:nvPr/>
        </p:nvSpPr>
        <p:spPr>
          <a:xfrm>
            <a:off x="5439646" y="1831553"/>
            <a:ext cx="1702027" cy="104644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Kunnskapsgrunnlag 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nye BOTT-prosesser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</a:br>
            <a:r>
              <a:rPr lang="nb-NO" sz="1200" b="1">
                <a:solidFill>
                  <a:srgbClr val="000000"/>
                </a:solidFill>
                <a:latin typeface="Arial" panose="020B0604020202020204"/>
                <a:cs typeface="Arial"/>
              </a:rPr>
              <a:t>Grunnlag for videre arbeid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Uke 6-1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8BF2A6F-3144-4DC6-B99A-FEA975A895C6}"/>
              </a:ext>
            </a:extLst>
          </p:cNvPr>
          <p:cNvSpPr txBox="1"/>
          <p:nvPr/>
        </p:nvSpPr>
        <p:spPr>
          <a:xfrm>
            <a:off x="5150614" y="6173073"/>
            <a:ext cx="9803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Påskeferie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AD696A-09E0-4C18-B622-69B01471CFD9}"/>
              </a:ext>
            </a:extLst>
          </p:cNvPr>
          <p:cNvSpPr txBox="1"/>
          <p:nvPr/>
        </p:nvSpPr>
        <p:spPr>
          <a:xfrm>
            <a:off x="3988497" y="1858799"/>
            <a:ext cx="804377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Kick-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off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6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11.02.21)</a:t>
            </a: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27" name="AutoShape 42">
            <a:extLst>
              <a:ext uri="{FF2B5EF4-FFF2-40B4-BE49-F238E27FC236}">
                <a16:creationId xmlns:a16="http://schemas.microsoft.com/office/drawing/2014/main" id="{5108459E-FF6B-4571-B8D8-A866AB2C9FD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4451" y="3243510"/>
            <a:ext cx="388140" cy="38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843CD2-8E0D-488A-B560-4C83E77C7D85}"/>
              </a:ext>
            </a:extLst>
          </p:cNvPr>
          <p:cNvSpPr txBox="1"/>
          <p:nvPr/>
        </p:nvSpPr>
        <p:spPr>
          <a:xfrm>
            <a:off x="6926477" y="5670338"/>
            <a:ext cx="1702027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Beslutningsgrunnlag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nye BOTT-prosesser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Uke 14-1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79B9F87-8BA5-45B2-B6C7-1F9DECD023DD}"/>
              </a:ext>
            </a:extLst>
          </p:cNvPr>
          <p:cNvSpPr txBox="1"/>
          <p:nvPr/>
        </p:nvSpPr>
        <p:spPr>
          <a:xfrm>
            <a:off x="2691608" y="6287453"/>
            <a:ext cx="2021612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Gap-analyse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ye prosesser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C9B7204-8DD1-4306-8119-EA3AEF1758B6}"/>
              </a:ext>
            </a:extLst>
          </p:cNvPr>
          <p:cNvSpPr txBox="1"/>
          <p:nvPr/>
        </p:nvSpPr>
        <p:spPr>
          <a:xfrm>
            <a:off x="7478781" y="6567478"/>
            <a:ext cx="4574289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933" baseline="30000">
                <a:solidFill>
                  <a:srgbClr val="000000"/>
                </a:solidFill>
                <a:latin typeface="Arial" panose="020B0604020202020204"/>
              </a:rPr>
              <a:t>*)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 Det legges opp til løpende behandling i SESAM, AMU og LOS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935C947-70D4-45C2-9B16-45E5F2670CBA}"/>
              </a:ext>
            </a:extLst>
          </p:cNvPr>
          <p:cNvSpPr txBox="1"/>
          <p:nvPr/>
        </p:nvSpPr>
        <p:spPr>
          <a:xfrm>
            <a:off x="2032480" y="2318529"/>
            <a:ext cx="1702027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okal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Interessent-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nalyse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5-7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847D201-0C1C-4635-8D7B-4F075A5903DF}"/>
              </a:ext>
            </a:extLst>
          </p:cNvPr>
          <p:cNvSpPr txBox="1"/>
          <p:nvPr/>
        </p:nvSpPr>
        <p:spPr>
          <a:xfrm>
            <a:off x="3946255" y="4487946"/>
            <a:ext cx="1221068" cy="104644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sign sprint 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Behov til betaling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1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15.03.21)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8ECAB1A-EBBD-4298-8DE9-2EC6176C6CF5}"/>
              </a:ext>
            </a:extLst>
          </p:cNvPr>
          <p:cNvSpPr txBox="1"/>
          <p:nvPr/>
        </p:nvSpPr>
        <p:spPr>
          <a:xfrm>
            <a:off x="7720996" y="3484733"/>
            <a:ext cx="1136097" cy="1231106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sign sprint 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Lønn og lønnsnær HR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9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01.03.21)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803D495-E671-4D58-9110-5878C37AD6AB}"/>
              </a:ext>
            </a:extLst>
          </p:cNvPr>
          <p:cNvSpPr txBox="1"/>
          <p:nvPr/>
        </p:nvSpPr>
        <p:spPr>
          <a:xfrm>
            <a:off x="5634218" y="3937978"/>
            <a:ext cx="1655604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sign sprint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Prosjektøkonomi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0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08.03.21)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A92C3864-D0E3-49CF-86CE-F9D2F268188D}"/>
              </a:ext>
            </a:extLst>
          </p:cNvPr>
          <p:cNvSpPr/>
          <p:nvPr/>
        </p:nvSpPr>
        <p:spPr>
          <a:xfrm>
            <a:off x="5366790" y="5542880"/>
            <a:ext cx="550120" cy="55012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84" name="Graphic 83" descr="Pause">
            <a:extLst>
              <a:ext uri="{FF2B5EF4-FFF2-40B4-BE49-F238E27FC236}">
                <a16:creationId xmlns:a16="http://schemas.microsoft.com/office/drawing/2014/main" id="{260E7516-0EF3-4230-991B-F0B5AD6731C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83315" y="5659405"/>
            <a:ext cx="317072" cy="317072"/>
          </a:xfrm>
          <a:prstGeom prst="rect">
            <a:avLst/>
          </a:prstGeom>
        </p:spPr>
      </p:pic>
      <p:sp>
        <p:nvSpPr>
          <p:cNvPr id="116" name="Oval 115">
            <a:extLst>
              <a:ext uri="{FF2B5EF4-FFF2-40B4-BE49-F238E27FC236}">
                <a16:creationId xmlns:a16="http://schemas.microsoft.com/office/drawing/2014/main" id="{36620D5C-E370-47DE-A6DA-C0E1A210E22C}"/>
              </a:ext>
            </a:extLst>
          </p:cNvPr>
          <p:cNvSpPr/>
          <p:nvPr/>
        </p:nvSpPr>
        <p:spPr>
          <a:xfrm>
            <a:off x="5981945" y="1221693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17" name="Graphic 116" descr="Group brainstorm">
            <a:extLst>
              <a:ext uri="{FF2B5EF4-FFF2-40B4-BE49-F238E27FC236}">
                <a16:creationId xmlns:a16="http://schemas.microsoft.com/office/drawing/2014/main" id="{4C48F631-DDCC-41D5-9478-D3530DF6E4F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50710" y="1290458"/>
            <a:ext cx="412590" cy="412590"/>
          </a:xfrm>
          <a:prstGeom prst="rect">
            <a:avLst/>
          </a:prstGeom>
        </p:spPr>
      </p:pic>
      <p:sp>
        <p:nvSpPr>
          <p:cNvPr id="119" name="Oval 118">
            <a:extLst>
              <a:ext uri="{FF2B5EF4-FFF2-40B4-BE49-F238E27FC236}">
                <a16:creationId xmlns:a16="http://schemas.microsoft.com/office/drawing/2014/main" id="{855BDA43-B2BB-4B9E-8DFA-85017201E705}"/>
              </a:ext>
            </a:extLst>
          </p:cNvPr>
          <p:cNvSpPr/>
          <p:nvPr/>
        </p:nvSpPr>
        <p:spPr>
          <a:xfrm>
            <a:off x="2594272" y="1744518"/>
            <a:ext cx="550120" cy="55012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20" name="Graphic 119" descr="Group brainstorm">
            <a:extLst>
              <a:ext uri="{FF2B5EF4-FFF2-40B4-BE49-F238E27FC236}">
                <a16:creationId xmlns:a16="http://schemas.microsoft.com/office/drawing/2014/main" id="{3C7C7820-9EA5-4D11-9DD4-A84047A8306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663037" y="1813283"/>
            <a:ext cx="412590" cy="412590"/>
          </a:xfrm>
          <a:prstGeom prst="rect">
            <a:avLst/>
          </a:prstGeom>
        </p:spPr>
      </p:pic>
      <p:sp>
        <p:nvSpPr>
          <p:cNvPr id="122" name="Oval 121">
            <a:extLst>
              <a:ext uri="{FF2B5EF4-FFF2-40B4-BE49-F238E27FC236}">
                <a16:creationId xmlns:a16="http://schemas.microsoft.com/office/drawing/2014/main" id="{569F4808-126A-4939-942E-004A229A4315}"/>
              </a:ext>
            </a:extLst>
          </p:cNvPr>
          <p:cNvSpPr/>
          <p:nvPr/>
        </p:nvSpPr>
        <p:spPr>
          <a:xfrm>
            <a:off x="4113222" y="1288438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27" name="Graphic 126" descr="Group brainstorm">
            <a:extLst>
              <a:ext uri="{FF2B5EF4-FFF2-40B4-BE49-F238E27FC236}">
                <a16:creationId xmlns:a16="http://schemas.microsoft.com/office/drawing/2014/main" id="{727B3FFB-ABDF-4B16-BC83-C1EEF8B4883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181987" y="1357203"/>
            <a:ext cx="412590" cy="412590"/>
          </a:xfrm>
          <a:prstGeom prst="rect">
            <a:avLst/>
          </a:prstGeom>
        </p:spPr>
      </p:pic>
      <p:sp>
        <p:nvSpPr>
          <p:cNvPr id="129" name="Oval 128">
            <a:extLst>
              <a:ext uri="{FF2B5EF4-FFF2-40B4-BE49-F238E27FC236}">
                <a16:creationId xmlns:a16="http://schemas.microsoft.com/office/drawing/2014/main" id="{18EC1CA7-C53A-45DE-B096-24354F0CD62B}"/>
              </a:ext>
            </a:extLst>
          </p:cNvPr>
          <p:cNvSpPr/>
          <p:nvPr/>
        </p:nvSpPr>
        <p:spPr>
          <a:xfrm>
            <a:off x="4352060" y="3923371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C2267C31-91C7-46DC-9405-25358E724B54}"/>
              </a:ext>
            </a:extLst>
          </p:cNvPr>
          <p:cNvSpPr/>
          <p:nvPr/>
        </p:nvSpPr>
        <p:spPr>
          <a:xfrm>
            <a:off x="6186960" y="3371716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5E2D09B5-8E52-4F1E-A84B-06F57832D4B7}"/>
              </a:ext>
            </a:extLst>
          </p:cNvPr>
          <p:cNvGrpSpPr/>
          <p:nvPr/>
        </p:nvGrpSpPr>
        <p:grpSpPr>
          <a:xfrm>
            <a:off x="3469807" y="5716753"/>
            <a:ext cx="550120" cy="550120"/>
            <a:chOff x="3387259" y="1909512"/>
            <a:chExt cx="432000" cy="432000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A5456F6C-B3A2-449A-BF01-4434ABFC7D55}"/>
                </a:ext>
              </a:extLst>
            </p:cNvPr>
            <p:cNvSpPr/>
            <p:nvPr/>
          </p:nvSpPr>
          <p:spPr>
            <a:xfrm>
              <a:off x="3387259" y="1909512"/>
              <a:ext cx="432000" cy="432000"/>
            </a:xfrm>
            <a:prstGeom prst="ellipse">
              <a:avLst/>
            </a:prstGeom>
            <a:solidFill>
              <a:srgbClr val="8D9C1B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42" name="Graphic 141" descr="Group brainstorm">
              <a:extLst>
                <a:ext uri="{FF2B5EF4-FFF2-40B4-BE49-F238E27FC236}">
                  <a16:creationId xmlns:a16="http://schemas.microsoft.com/office/drawing/2014/main" id="{43731233-26A1-405A-B91C-9E5FFCB01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441259" y="1963512"/>
              <a:ext cx="324000" cy="324000"/>
            </a:xfrm>
            <a:prstGeom prst="rect">
              <a:avLst/>
            </a:prstGeom>
          </p:spPr>
        </p:pic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347B85E9-B34E-41FB-A7D5-CB4203670AD8}"/>
              </a:ext>
            </a:extLst>
          </p:cNvPr>
          <p:cNvGrpSpPr/>
          <p:nvPr/>
        </p:nvGrpSpPr>
        <p:grpSpPr>
          <a:xfrm>
            <a:off x="7436739" y="4992760"/>
            <a:ext cx="550120" cy="550120"/>
            <a:chOff x="3387259" y="1909512"/>
            <a:chExt cx="432000" cy="432000"/>
          </a:xfrm>
        </p:grpSpPr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93D56685-815D-4B8E-87D4-B8AA9435B2B7}"/>
                </a:ext>
              </a:extLst>
            </p:cNvPr>
            <p:cNvSpPr/>
            <p:nvPr/>
          </p:nvSpPr>
          <p:spPr>
            <a:xfrm>
              <a:off x="3387259" y="1909512"/>
              <a:ext cx="432000" cy="432000"/>
            </a:xfrm>
            <a:prstGeom prst="ellipse">
              <a:avLst/>
            </a:prstGeom>
            <a:solidFill>
              <a:srgbClr val="8D9C1B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45" name="Graphic 144" descr="Group brainstorm">
              <a:extLst>
                <a:ext uri="{FF2B5EF4-FFF2-40B4-BE49-F238E27FC236}">
                  <a16:creationId xmlns:a16="http://schemas.microsoft.com/office/drawing/2014/main" id="{28F36C86-7218-471E-9BDA-934CCCA2C6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441259" y="1963512"/>
              <a:ext cx="324000" cy="324000"/>
            </a:xfrm>
            <a:prstGeom prst="rect">
              <a:avLst/>
            </a:prstGeom>
          </p:spPr>
        </p:pic>
      </p:grpSp>
      <p:sp>
        <p:nvSpPr>
          <p:cNvPr id="146" name="TextBox 145">
            <a:extLst>
              <a:ext uri="{FF2B5EF4-FFF2-40B4-BE49-F238E27FC236}">
                <a16:creationId xmlns:a16="http://schemas.microsoft.com/office/drawing/2014/main" id="{7321B79F-9807-46C8-A245-E97857756C3F}"/>
              </a:ext>
            </a:extLst>
          </p:cNvPr>
          <p:cNvSpPr txBox="1"/>
          <p:nvPr/>
        </p:nvSpPr>
        <p:spPr>
          <a:xfrm>
            <a:off x="-925436" y="4802136"/>
            <a:ext cx="3506067" cy="1092607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Organisatorisk behandling nye prosesser</a:t>
            </a:r>
          </a:p>
          <a:p>
            <a:pPr algn="r" defTabSz="914354">
              <a:defRPr/>
            </a:pPr>
            <a:r>
              <a:rPr lang="nb-NO" sz="1050" b="1">
                <a:solidFill>
                  <a:srgbClr val="000000"/>
                </a:solidFill>
                <a:latin typeface="Arial" panose="020B0604020202020204"/>
                <a:cs typeface="Arial"/>
              </a:rPr>
              <a:t>Arbeidsorganisering/deling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15.03 Styringsgruppemøte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18.03 Administrativt lederforum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26.03 SESAM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30.03 Dekanmøte 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057B64EC-D289-4B3B-9D0C-E115F7961A44}"/>
              </a:ext>
            </a:extLst>
          </p:cNvPr>
          <p:cNvGrpSpPr/>
          <p:nvPr/>
        </p:nvGrpSpPr>
        <p:grpSpPr>
          <a:xfrm>
            <a:off x="2531805" y="4971818"/>
            <a:ext cx="550120" cy="550120"/>
            <a:chOff x="1146518" y="1268083"/>
            <a:chExt cx="432000" cy="432000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316707A2-D765-4D6F-8D82-67CF43FDC4E0}"/>
                </a:ext>
              </a:extLst>
            </p:cNvPr>
            <p:cNvSpPr/>
            <p:nvPr/>
          </p:nvSpPr>
          <p:spPr>
            <a:xfrm>
              <a:off x="1146518" y="1268083"/>
              <a:ext cx="432000" cy="432000"/>
            </a:xfrm>
            <a:prstGeom prst="ellipse">
              <a:avLst/>
            </a:prstGeom>
            <a:solidFill>
              <a:srgbClr val="014693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49" name="Graphic 148" descr="Meeting">
              <a:extLst>
                <a:ext uri="{FF2B5EF4-FFF2-40B4-BE49-F238E27FC236}">
                  <a16:creationId xmlns:a16="http://schemas.microsoft.com/office/drawing/2014/main" id="{19A98BAA-57B1-4583-AA8F-F596B3CEA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189718" y="1287524"/>
              <a:ext cx="345600" cy="345600"/>
            </a:xfrm>
            <a:prstGeom prst="rect">
              <a:avLst/>
            </a:prstGeom>
          </p:spPr>
        </p:pic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86BD26B7-BE5B-407E-92D9-8D13E85158FD}"/>
              </a:ext>
            </a:extLst>
          </p:cNvPr>
          <p:cNvSpPr txBox="1"/>
          <p:nvPr/>
        </p:nvSpPr>
        <p:spPr>
          <a:xfrm>
            <a:off x="8230609" y="5180627"/>
            <a:ext cx="3674959" cy="141577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Organisatorisk behandling 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  <a:cs typeface="Arial"/>
              </a:rPr>
              <a:t>Implementeringsplan for ny arbeidsorganisering og deling 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05.04 Styringsgruppemøte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xx.04 Administrativt lederforum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16.04 SESAM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20.04 Dekanmøte </a:t>
            </a: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9B6A39EC-6478-4B7A-B3F6-E7DCA0F5846E}"/>
              </a:ext>
            </a:extLst>
          </p:cNvPr>
          <p:cNvGrpSpPr/>
          <p:nvPr/>
        </p:nvGrpSpPr>
        <p:grpSpPr>
          <a:xfrm>
            <a:off x="9770426" y="4603407"/>
            <a:ext cx="550120" cy="550120"/>
            <a:chOff x="1146518" y="1268083"/>
            <a:chExt cx="432000" cy="432000"/>
          </a:xfrm>
        </p:grpSpPr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8E6FE1AC-E198-4211-BA16-CC2A9EE2FC69}"/>
                </a:ext>
              </a:extLst>
            </p:cNvPr>
            <p:cNvSpPr/>
            <p:nvPr/>
          </p:nvSpPr>
          <p:spPr>
            <a:xfrm>
              <a:off x="1146518" y="1268083"/>
              <a:ext cx="432000" cy="432000"/>
            </a:xfrm>
            <a:prstGeom prst="ellipse">
              <a:avLst/>
            </a:prstGeom>
            <a:solidFill>
              <a:srgbClr val="014693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65" name="Graphic 164" descr="Meeting">
              <a:extLst>
                <a:ext uri="{FF2B5EF4-FFF2-40B4-BE49-F238E27FC236}">
                  <a16:creationId xmlns:a16="http://schemas.microsoft.com/office/drawing/2014/main" id="{76AB784B-6E5A-49DE-8D5A-4B56FE465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189718" y="1287524"/>
              <a:ext cx="345600" cy="345600"/>
            </a:xfrm>
            <a:prstGeom prst="rect">
              <a:avLst/>
            </a:prstGeom>
          </p:spPr>
        </p:pic>
      </p:grpSp>
      <p:sp>
        <p:nvSpPr>
          <p:cNvPr id="167" name="TextBox 166">
            <a:extLst>
              <a:ext uri="{FF2B5EF4-FFF2-40B4-BE49-F238E27FC236}">
                <a16:creationId xmlns:a16="http://schemas.microsoft.com/office/drawing/2014/main" id="{582EB834-F45A-4DC6-9ACE-C98E7E6B6CD1}"/>
              </a:ext>
            </a:extLst>
          </p:cNvPr>
          <p:cNvSpPr txBox="1"/>
          <p:nvPr/>
        </p:nvSpPr>
        <p:spPr>
          <a:xfrm>
            <a:off x="7654627" y="1926942"/>
            <a:ext cx="1221068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rbeid med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Økonomimodell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6-9</a:t>
            </a: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93FCA21B-7379-4907-8341-4B5B3928A6C1}"/>
              </a:ext>
            </a:extLst>
          </p:cNvPr>
          <p:cNvSpPr/>
          <p:nvPr/>
        </p:nvSpPr>
        <p:spPr>
          <a:xfrm>
            <a:off x="8060432" y="1362367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71" name="Graphic 170" descr="Run">
            <a:extLst>
              <a:ext uri="{FF2B5EF4-FFF2-40B4-BE49-F238E27FC236}">
                <a16:creationId xmlns:a16="http://schemas.microsoft.com/office/drawing/2014/main" id="{465DD31F-9C85-4F25-8D83-F0A4035DFEC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117346" y="1442904"/>
            <a:ext cx="407095" cy="407095"/>
          </a:xfrm>
          <a:prstGeom prst="rect">
            <a:avLst/>
          </a:prstGeom>
        </p:spPr>
      </p:pic>
      <p:pic>
        <p:nvPicPr>
          <p:cNvPr id="172" name="Graphic 171" descr="Run">
            <a:extLst>
              <a:ext uri="{FF2B5EF4-FFF2-40B4-BE49-F238E27FC236}">
                <a16:creationId xmlns:a16="http://schemas.microsoft.com/office/drawing/2014/main" id="{44216856-E0E7-4ABF-9FAF-F0586A76A15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6284289" y="3436174"/>
            <a:ext cx="388139" cy="407095"/>
          </a:xfrm>
          <a:prstGeom prst="rect">
            <a:avLst/>
          </a:prstGeom>
        </p:spPr>
      </p:pic>
      <p:pic>
        <p:nvPicPr>
          <p:cNvPr id="173" name="Graphic 172" descr="Run">
            <a:extLst>
              <a:ext uri="{FF2B5EF4-FFF2-40B4-BE49-F238E27FC236}">
                <a16:creationId xmlns:a16="http://schemas.microsoft.com/office/drawing/2014/main" id="{829E83AF-E147-465D-BD26-012E6AAC3E9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4441549" y="3987256"/>
            <a:ext cx="388139" cy="407095"/>
          </a:xfrm>
          <a:prstGeom prst="rect">
            <a:avLst/>
          </a:prstGeom>
        </p:spPr>
      </p:pic>
      <p:sp>
        <p:nvSpPr>
          <p:cNvPr id="174" name="AutoShape 42">
            <a:extLst>
              <a:ext uri="{FF2B5EF4-FFF2-40B4-BE49-F238E27FC236}">
                <a16:creationId xmlns:a16="http://schemas.microsoft.com/office/drawing/2014/main" id="{7A192D7E-1979-4B28-A947-DA1E4E0168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17346" y="2804115"/>
            <a:ext cx="388140" cy="38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0B1F937C-984D-431A-B1C2-347E0986EBC9}"/>
              </a:ext>
            </a:extLst>
          </p:cNvPr>
          <p:cNvSpPr/>
          <p:nvPr/>
        </p:nvSpPr>
        <p:spPr>
          <a:xfrm>
            <a:off x="8009855" y="2932321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76" name="Graphic 175" descr="Run">
            <a:extLst>
              <a:ext uri="{FF2B5EF4-FFF2-40B4-BE49-F238E27FC236}">
                <a16:creationId xmlns:a16="http://schemas.microsoft.com/office/drawing/2014/main" id="{F8C4EAC9-EB59-468E-9455-08B3A665137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flipH="1">
            <a:off x="8107184" y="2996779"/>
            <a:ext cx="388139" cy="40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014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nUwYb6kO_bNmqGazmtz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efXvJr3MUHijn2scNWB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BbTXDILo.IYS56qtHr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I9ZU3lXRjWsDrTDoWq3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NB07lIlgA480KK26I6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3Qyka.IijDiZQ.JamKA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j_uSrudcESGceuMZ.E1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ICB7kpe0AJeNT1BPIjn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9oL9_wn_5NFXkNuW5H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WzJq21I3_UQ9visp3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fNnsRlsdRvsLXaww2P7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6Gcc9ACMvPgNVI3GY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zH6Bm4cxp0cEflgF_C5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hVqUvWNxBDzTe6hE6RM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7jauD9CPpnXJW_y7Y2h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m7pKt_CuUIlzDgmABwY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0HbswVBJj.pzq.dTjbG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7Oohn9ai2vGVo0ZLhB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aTn6buHBeig5V_4HPp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TtsgyQPf2awBZ9t_iQ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P77Bp74XL9AjXTZ9rob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VW59gNvJ3u7MPQcTuh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ILCml04O._OA92O4wt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QeMvmOpUfcTOsYy491x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2FxC0uiIeEd_CUI.tzO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DYri4QI3fV.YUOeVFC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Bftg1CAQVI6Km70UgZ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iCXhohpGziidXQbouHn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8Is7Zv80YWvt9N1vt_x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Tzs.ywzw0uqCviFvpD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GIOJRlpO3x_JbRyBh9q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JPo1466AwuEJYBFVltV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rGJ1DeCRinjc2m0XdGK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UjUVmnsSs.b4hXptyAZ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9dnpDm9FMHRRHKO5cd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ll4bY4idzRBuChtBd1_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Gx3kovq1lSU9Jb7szWp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kc.Y4Fo.9ZGrUWN_K.g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jGvoejpVRmOHmzk2UyN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pJz0Glt3RnJtvWw7Jl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.7jIw.kqmiFinFElxEK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IE1Q8OYr8_JzovG9gh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AeWCMZaJ8iN64IbquUB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HHxWaCfFEIo_4s5PxM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VdhmLRpmD4wxYJ4irV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LwwGIB.V..OEaw6H5Mg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0.8SpxrscykhMTyZPwl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i0vPqMf2kq38_bT3en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FdicdEPbn_axULTJmFT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n4.fI33PAdT441y74.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O0UJVYnWcLm8V.YusvD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dz8gqy3BktmgZ2603a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ensjfZCXv12_8aFtuGu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Q_LAwRJ1sDaEK1tKQzu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9upy_Jnc9rFeSytKLhU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__LoiVeTvNV14ZPZ2.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xMOahOEKPG8mFjuT9L_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hjqgHkclDiGNAtMEZfx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L2IPIxZZYOGGJM1xIxJ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lkgMCSWJIelbujQYcp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.cpcBexodBZJw6D.MS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v__nyFA46eMU2KoM.6L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hxAJOBcnNtg_agX0Z9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zFd_Qe19O15.RMTqiRK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ylmGVUU2Z4X2mXl.M50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9UCNXD1zNJ8AnBN0w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6zZa8ehtr9DZ_kJKuVR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9JrVSis0fgN9SMT68s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61NH83mcQZ3KUrjlWXL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88074QOrE3f0cW1XIx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kqbHo1MXBEpBhbfv_C6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JuwR8O4MvVyCLcPd33P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LPU6p7zrC6np3nHxhu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3R9QhW2Kwja4j0tfqw8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Y0qgGE2qbzX1Tlu7NHt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MLTR9I.KBuUZnDhVnS5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nnk4BOEXRVHie7j.f1s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a0PDxvVF4SAkWnK_kcM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kyq6Lp9BkCRHoyxyNiu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dOA8EpCqIH0BUSQz8a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AfAt94GT3I6U0o2FBYA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NDNeijItqXqwrUP33W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UkSL3dINKYEhtmyxx_P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2fPHJSj9ae0SVq_rbLe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w21oemkVyOUfm1oT8mo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.MeUtZxKLogQQPbkZUv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OFx7VbaaXQ3SWCeneU3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hxAJOBcnNtg_agX0Z9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McXVkszECHlKinIB34s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McXVkszECHlKinIB34s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CPvzgICXDq0yzdA2Gmc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XcSkJ2KAN_Z9so739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.Ox9PRYSio_Ahhtq.M_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yThnGGw.gKEX8FHccRK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mZ0Jl8nnd9DWLMhiar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3xBDi2GdrI1ZOhY3XhJ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7hG0_JMVz_fe8QJMQ1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uhUF_quMDX21_I1Glg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1qF7FEsTRpq.puc3KhR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nDv.rofyu6FClofMWiQ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31AVjvIN2zBsz5bGBUo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iRlP97m_i1vJi3D.SnG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eB_Wlx8W3drWGV.kc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ss_EVoQvXghZk82wsAp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bI8k2HcoGEVIe5DXLLP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P_1wyeiLd6GuG03BG1O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tX7pqvtIp4G6UnE7B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TBmpo6BPpxlVCM4GE6Z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39buf8srEfxeZqN5mL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lFbwIXiNcvSU7AkrOg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WB5w.VaUNLvPr1W39PL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JRhJ6hi9JRNhjO.dh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0pGdQFnKdR3mWwPQDZX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xe.Zwc22yFxUkB_kL8m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0T6KkiTGvU3wAlrKkVk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C9ceL4MBImvtbdVYUC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2kRAlJghLTk3wAKOtIO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lUmicSuqQ9BJHbwAEbX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gMmuWFp2AExP6y_6Rb8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nIktO4.53gDqNNgqMTp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bfYlXjBaJ7m7skUQwH2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e9rhPHgNjqruYBmZ9on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u9jb7iMow6u9UrieqTm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CGZ_sGlzB6UfBTnluY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zK43XpRbC2xP6dZ_HwQ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lAmpU87jm0u8awK01a6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tMPsl6POnMsz.2HJs8Q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4yoTUg3Cvf_MVVPJjij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iH2iBh4hXRhsGH6eYD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4IabGYcXfhyOt32PQmd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6I8bfQcRiy7VenwD6f5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j4FrF1ICuggfGwKr3V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OMTZvw0SxWRKvIfJo2d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vTlLooNybYsxlD_HCQ_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qWlKMFTYMoNlb3cdzys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QAbihy.G3wa2_SuRPUa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DIjEG9qT5f7u0yuG3x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gET584Fa8zeOH0dg905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SBDAdKoILEUszgQ0fd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9UnMV3cucoUTD.IDLHb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7dOM0hCq2tOYSnwpvds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FAJKRFpFSwT6Fj9E12q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9acmQoa159vIvyAjU5C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XJMZ9ER_4_QRofs9qa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jCDxXzvOUVN_25iVPOP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C23suHY5VfX7Uc2dNBs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TqwmxVoXTInx6mJBGbp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f9g0jARkxz6LgHmPnn8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OdSAwcgZiUylSKQ9F5P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e4ivRtqciyHQMCj_Pa7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2IIyFik99PeLH0ea46K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_Dt8zEF0_5mEVrls_jP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Wno1BDk0XlogLx6IETK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M5JxxB6xr03_.qVNiz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dRQdjA6qtdJ5lRIMkZZ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PiyhWxedfmc3j0bVtTM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VP8kS6EMPcnXMD8G4bW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zHz5P5cQugashDf18R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q0FcGSpaUKAjLaejMg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PDWqzdpS8ig.cFqva3o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Tm9zo2SdicStMNGyDiR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yr7bE2EbOa.5nGYpI4h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OS0os6mepBqieRrSM3A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5aTP8xViWKZwV23sdYO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X9SLiWjds_f8FFdz8Uw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Abs3YATM1T4f1nkU7tO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ejG6U.yToHWPTP6DYc_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MbZPg_yZniS_oRwhGx0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lg_jcyiRIOd8dabSurk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EIki_hcgp3ysnc0VMT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6svwtOsOrns89BSkZ7h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BVFOrnlgUCx1UuGK3E9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SJS_FossnzH6OKlWld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3aA.j368itIb2m.Lii.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y714.WIBzc9nZPqovN7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5LiuKISCNjHgemlJt7i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UGNE3nxMnLK1aW8MNpr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jP2MtMqe3y3zSMYOb_S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.JZEAwVntCi3QkWL5U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XFF.iBHX.PVWarpdzpn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DloF5fg3cmC4bUryUl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fcPNBFvwUs3J88lusN0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3fdThHV4mpYF.f0lyC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D6PzDwmsgbmNF5aOZxn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fubUSrINsjdsGQIblV3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PYJvoTQbqMHIdnOfpPN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p7vbwI5poervDGxqUyh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b2wrvqLTThoRrbxi7e9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xbJjbeZyTj0HfaQogUr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3H5cmL0NrPcFeOC.kwq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6fHnYlFets4r1Ju1BWS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z8n.P8GqlXoSiN7DiI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Bv4VhEUqGKkfna7PaPB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QtDcTdKrWxBn5TES3t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aAAPRpMm8qe93SiUDfI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zSMnvBsbP6vB_7bJNUH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uqsygltfZym7dlsJHCS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cgqWZERwFCQImuRgSLX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EQanFrQJ40ZD8BB_gd0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NjKTeEi6O0D3F1_h19.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WlPDL57OWnoG4P1Jt8S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96F9Pgh516A8uPSkrz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QETxyPJ_qP4njINaE0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PVYHR_1ihBICb8GbMpM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taK9mVfwiqkP1BdVmrM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sICqexEstkgJRZK_6Pp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DP57OSZzkch3zvn1F0o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aGNlPM0_O7AQfi2RKVx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LUXeRXz2cfCmrW8JicX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vEzU1sxxImaGCwakhSs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x8Ldz5RvnYj4NNI2tkw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5.Ob0e9oz3xG2HeXfw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eSNBiIM6YCj8F8Rfzjb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UZO7s_S4PjKvZHuSIC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.VJtzwXAV6CXQ2HUL6K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3dKq7DImrZ._AYj5NE1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f3FohUd2StaZaVE_0i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YqihrkGHJoQ9JY9E.j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0YGPoYm4_asDfWsTLtL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6q0eANjBGcIgc9rpuh1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CDVSOxKkW.b1AbkUdjy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xdmDLAZvnSkj_F6GqJD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45bHLUU_pr04PmBCYb9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cCrborqES5mHBgpPZKs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wUixTZMvHatGKGMkWS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L2Mrv93Nhr7rFDAN2Jx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J16t5Pruvgj9GUxItD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ap2KE2b1tymEgdh8Dpk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D6PzDwmsgbmNF5aOZxn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D6PzDwmsgbmNF5aOZxn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x8Ldz5RvnYj4NNI2tkw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x8Ldz5RvnYj4NNI2tkw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sAnm9hMnYmOvPZQ_TY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9ub7kJe.Xu2GhBtNUEk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OhXetn82MRYBIOZUHM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7PPyGtIB_5XTquaqpuH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Ramf6P.aFjKUXgbnOtd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5sATGXmGsTFKOuHac5q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1OMivGJ0lpsUAFvfA_e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ZAcDG1MoQLdn0g1BFOD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6cwJPn9EUjB8mjQmUT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DWb6bQnRZXUJzKmMwpI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yi.6VLRL7Z9nujsXzVw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5rHNVvAIl2j2aDsTGI5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SvK8b5ENaYk4AgoE_Rf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DuqlH5jdhsGFsyR3ZF6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j6JShli_r3R02wtWcw0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UMsmLAKHgg5MdNWugsr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OjSYPV3pvgIwOw1Tzps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sEKrIhNOl4c06bMJ7Lb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_BEkQfiioq8tF6FiJd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N8NS1wlYrfPekuKIKUZ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BMda_ulod7NuIAoKYu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X115XHfUSVFDqqvhTAQ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xzqOYDYMjsMRYUzrMU3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6JcI32xisFmYRQJLq.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6UVXl_m1fdpzT3b3_Z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aKD3zjL.HrkVBhVnaiG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y2QY2OJpGtGKObwDRum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zA3GOPVJkY6ehZ18fj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jvdbivRAGD1IOM8Mjcs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RRthYBV130NUOBTKnCx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QGl4ibqGB_sJoGtE5HN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l9nUam48reF_ghLLHj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OfPp3INnR5u8Zy2tlnR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mrhHkLl5itF2kXvrFW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K4A.TscsIptz1OXSKN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byWSNuN10j_.RZreo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iES3c14DQbtcutCXNz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oSJMm186KNza9sgWvH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m4iYWjpPUrcgvFC5VH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XA13o1HE1cX6rct7js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Ec8k8.K5jo.uTEwyaLD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38iRyFtXVTzr64xPID7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16s6r447IpmBspIeqkc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smHFOsjyOmfhrhQ2eXY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6iIlY0Usjyp0tA0NXl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ReLSh_F3IBqeJH489_J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W8FB3GdK4OVnXdYkYx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YRT844f2YxwTNJ9Mtkz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pFRf6fcg6myKvewtE3G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hkApZCbV20e6u08rAl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9g.pIAxGrjpSP0xhCI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GkwWycrT8nGTAWSd70m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nH_4k6jyqTfes3GBDY.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jWXzjWn5Nq_jdeeeAFR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7lYDE09Qj5KNl8HwZdm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40XVq1oGeR9jM2lBAtG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eKrQRhAICBOAvbF5u58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j7saLTtOfytpZBOZCL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WjuIzV25GpQafjm1x4U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b_opdc7I7q8dlsdHnfX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ewrViFZm.elnkZfbxuQ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cIi2ZcKobIFTxlhpJI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v1Fh4hqPVgYQqizMKA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4qHUG5iQj.wuv9E5_eV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Q8XWZcpJU0p78_iG9yX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f9M_o.0.7L1rQqFstof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zbF3KGxpHesfCx2iCYz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uIvZw7HOkPHYLZWd_c7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Y5f3ptC51URD.NoCs_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nc4rcH1pJVqvpMGUu5S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.dX6xLUYJVsdZfU819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BQjtHfwoGDNr11S5RKE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1iHiK0mN7x7LFNWlNuj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MacPWH6rnWlmAeL4R2a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6uyXswUuBUhIe0P00a8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6Qr5zzrKBR28Uq445Jh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vpDfYiGB104VPj2q0bc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_l8xZsJASES4cVxet2q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rC_HtBH7.IR04dsmegg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pqq5BgfwNCCCb.6viU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MIyTAwz8YwHFU8D3xD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4Yex.rHtXBvxi.Ng_oe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njvm.OWhp8Pq1qCB1T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KIhBSJ2INfocuzou9bo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d5cN_NMSl3hCsvnq9Cy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6DVwgcK64rqGAutU9Jf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b_yqPIO3oimBxn.RrrG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eaGrXTx8Wb.f5QofbKt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fbPUMSrgE2G9sJwjKrw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NmUin0vROcz9FPcsgZ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uHM_vI9yW2dv2UFbxG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GAGAUM5P894z4pWx6k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SGqftnKZYTP1dOSD3Lu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Q5fog2UjAVh43ob9Bh2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rRFyhOkVUdIR0csWYb1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o12BXmJAeQUQwTF0qx.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WSOj2x1phSxCLHqb7D2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PFqNjdigrcs86yt1Sj7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FL_F628k9Jju5Qxu1qC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waLchhAbZ0GJc1kE58.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83wAhbC0CriIGBOWfoS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GR2BbxE89FlavkSNX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Wgikd467JJ16f7xnI7y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KCRYga7rAaxErTMiRT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n96VASGF72KspD5EzAI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xjkM0.WtsMMPTPufmV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Zv.4VroisuhosHgQDr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v95vQBzIYk9SWNcKrJN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YB2_QYsMErzDdj3H8pY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Uje_yEWC0n9xnGIDAbK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0UlLh54XMMLTDhaR8VD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rb3aZzsj1kFlD8SM5qY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R2QvsKdGtRXZtY4W73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Uoj2es_roIkav5igO7P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8lCnufpXh9u.ISM.0HS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Q3v_rN47qyXplfxHaM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ojHutLIFdz.HQEUXGfN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4_kwD18U3qghaJ_jvkq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d9QKB8R9To7FQJdBbZf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11OMErQ8Pe47Ke9yU0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ws4iEspAF3_YimwGDR5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.xlZqVG0PrnYN_RfFaM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_Zq.Ab_NbjxQZ9ufnSD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PeHOgIFjNo8hL1kPHA7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L3CE3_71m7F07S2X.Qq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L650NvVJlIZomoMy2Pw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qbM3T8xgzzxpZNknux1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_SUxl8ySQne6yXtABUw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7fvQPFNOr5Dsz9VhUT9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wp2Z.jDdusAmZrQWNx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o68PMkRnMsIAunMohmY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zc9hBMGlJ3gq8UNdQd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3VwOTJljbid83GRnp5.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733uBwjZbCGxde1qcho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OYn7UfXExs38.3qUHR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S4CpHG31lthQDWY_BAM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AJtbeAWLCVjOyWEBxvx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OvYCtaKhOQ7vgj5Pr0V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Kd1Q930LuiYMF3bcEU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t8DfBrvuIc7YOmexUhS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NmUin0vROcz9FPcsgZ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zc9hBMGlJ3gq8UNdQd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NmUin0vROcz9FPcsgZ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zc9hBMGlJ3gq8UNdQd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RaiAt3AsnGU9CsVUhVM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shLOCLkTDtdFw8ApM_6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mfR2zfRXgowTD9EqjE8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Psk2jTjKLlguHcFp7n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74lOg5DD8uSoG1oWe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oxGTLFbIAoGUgVHP4Mg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inW4fflgtH6rPoZUZA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20yqKU2Z_zPA_0X7iV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mwN9ORNjWH7AFpedavr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LzTy3gbBhNnZ0LsD0P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8qF5W5WGK004e3Y897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8eFvWZAlcbsDDSWajUg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aY28p7mkmg3oeKoJ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m63.V8XPEOAG.u.aLD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kgrEpcQI19rnoBPx2y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s5sHN3Oem8XeGeO4k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YGZ5dAcu.20Hl5uzz4.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J8xaxprduFlFldkM6A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EDgYaXC4FDAzKO4KdGf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.4JOSWQUvJ2Xqfqj42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lGWIggwtAXPdMobypp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5X73TBEcxb4Or2U_DRb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2mMSnejzBLmpU60mkh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dhb9Vndc33QD7_ojw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8WFfFpl2VEGC8kiE__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ucrTEgQXVbNCUQS491.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jJxFHtKHqlExoczL.T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OFx7VbaaXQ3SWCeneU3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TorOMwOAHDgenxZvrD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4wC7V3s1OmYG7z2OF0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.MeUtZxKLogQQPbkZUv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J2hWj6OsJewrpicA7sF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0qiURbEaa5qER6KAj1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YJdwLkTnIWa5tQ.LGqn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eWLdxBRGkEC9Wq72UZ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Id7rtfud3urFIB_QFK5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Kf2TpcDg9IFy8QFFAx.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mmeSXkf6OF8nXT9wE9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6h3VzMZ2l794WsS3sF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0Pca5ASn3aO0_gNI68r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Hd.iA9HA3fLQ8dcbSjS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hQCvjW_DbRB6uMUya4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4Ik39bytbt7qWGmfWb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3B14A9NrFns0uXPjGO1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S3hqlG1ZRHHlpGHbPy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1NQ8i6qKVzee98wiAj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JyXVgoEcfXBoviG_SSS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78EvIw8Cy4Opi8lXF_6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W0smkOoGZL4m8UCOLFp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UEpK_h1c6pPVhf_7vUE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YvvIrI8G0.nw4Gv0veR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f8w3Uq41kfebA.AS4dl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VCXywdvfDgMqGiXtMX6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jo.g7C_Kw_CH06QPZxW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vjb6LYyTITHlt4cn1Tzw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1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1" ma:contentTypeDescription="Create a new document." ma:contentTypeScope="" ma:versionID="e5cc35c2b93ef9b5cbd271e6acbabea2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f2ce806dfeefec15707a3ae1b2745845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1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015d52-1a8c-45a9-b108-712092158594">
      <UserInfo>
        <DisplayName>Terje Ruud</DisplayName>
        <AccountId>65</AccountId>
        <AccountType/>
      </UserInfo>
    </SharedWithUsers>
  </documentManagement>
</p:properties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9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Props1.xml><?xml version="1.0" encoding="utf-8"?>
<ds:datastoreItem xmlns:ds="http://schemas.openxmlformats.org/officeDocument/2006/customXml" ds:itemID="{D095A0A8-BBFC-46BD-B6C9-F9F771063A0C}">
  <ds:schemaRefs/>
</ds:datastoreItem>
</file>

<file path=customXml/itemProps10.xml><?xml version="1.0" encoding="utf-8"?>
<ds:datastoreItem xmlns:ds="http://schemas.openxmlformats.org/officeDocument/2006/customXml" ds:itemID="{70F4ED2E-503E-45E3-825C-9B04A23593EA}">
  <ds:schemaRefs/>
</ds:datastoreItem>
</file>

<file path=customXml/itemProps11.xml><?xml version="1.0" encoding="utf-8"?>
<ds:datastoreItem xmlns:ds="http://schemas.openxmlformats.org/officeDocument/2006/customXml" ds:itemID="{EBD3D5FB-AEE0-46A7-8289-818A621CDF36}">
  <ds:schemaRefs/>
</ds:datastoreItem>
</file>

<file path=customXml/itemProps12.xml><?xml version="1.0" encoding="utf-8"?>
<ds:datastoreItem xmlns:ds="http://schemas.openxmlformats.org/officeDocument/2006/customXml" ds:itemID="{48FCFEE4-2E78-40CD-A932-180CFC151F96}">
  <ds:schemaRefs/>
</ds:datastoreItem>
</file>

<file path=customXml/itemProps13.xml><?xml version="1.0" encoding="utf-8"?>
<ds:datastoreItem xmlns:ds="http://schemas.openxmlformats.org/officeDocument/2006/customXml" ds:itemID="{8F10D2E3-BD5E-41A7-9B58-448C4704E426}">
  <ds:schemaRefs/>
</ds:datastoreItem>
</file>

<file path=customXml/itemProps14.xml><?xml version="1.0" encoding="utf-8"?>
<ds:datastoreItem xmlns:ds="http://schemas.openxmlformats.org/officeDocument/2006/customXml" ds:itemID="{E3206C3F-9075-4ED1-A9D7-768CD599C06F}">
  <ds:schemaRefs/>
</ds:datastoreItem>
</file>

<file path=customXml/itemProps15.xml><?xml version="1.0" encoding="utf-8"?>
<ds:datastoreItem xmlns:ds="http://schemas.openxmlformats.org/officeDocument/2006/customXml" ds:itemID="{4212848C-530B-4852-8730-679B69C20DA2}">
  <ds:schemaRefs/>
</ds:datastoreItem>
</file>

<file path=customXml/itemProps16.xml><?xml version="1.0" encoding="utf-8"?>
<ds:datastoreItem xmlns:ds="http://schemas.openxmlformats.org/officeDocument/2006/customXml" ds:itemID="{6FF40517-EACA-4151-AD5E-9DA157F97D3E}">
  <ds:schemaRefs/>
</ds:datastoreItem>
</file>

<file path=customXml/itemProps17.xml><?xml version="1.0" encoding="utf-8"?>
<ds:datastoreItem xmlns:ds="http://schemas.openxmlformats.org/officeDocument/2006/customXml" ds:itemID="{B8637C36-4996-4BF0-9817-9AE4E45FB3C9}">
  <ds:schemaRefs/>
</ds:datastoreItem>
</file>

<file path=customXml/itemProps18.xml><?xml version="1.0" encoding="utf-8"?>
<ds:datastoreItem xmlns:ds="http://schemas.openxmlformats.org/officeDocument/2006/customXml" ds:itemID="{8E03B1FE-5A29-4B9A-A972-F98BDD2B0EBD}">
  <ds:schemaRefs/>
</ds:datastoreItem>
</file>

<file path=customXml/itemProps19.xml><?xml version="1.0" encoding="utf-8"?>
<ds:datastoreItem xmlns:ds="http://schemas.openxmlformats.org/officeDocument/2006/customXml" ds:itemID="{D49E55AD-80F4-4EC9-8430-FD8E8D9201DC}">
  <ds:schemaRefs/>
</ds:datastoreItem>
</file>

<file path=customXml/itemProps2.xml><?xml version="1.0" encoding="utf-8"?>
<ds:datastoreItem xmlns:ds="http://schemas.openxmlformats.org/officeDocument/2006/customXml" ds:itemID="{15437774-F76E-4BC1-885F-5C66DA41368C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33A9D2B1-910A-4890-A149-E85A43544B5D}">
  <ds:schemaRefs/>
</ds:datastoreItem>
</file>

<file path=customXml/itemProps21.xml><?xml version="1.0" encoding="utf-8"?>
<ds:datastoreItem xmlns:ds="http://schemas.openxmlformats.org/officeDocument/2006/customXml" ds:itemID="{6C87A078-5F40-4D7F-9BEF-6750FB94DC63}">
  <ds:schemaRefs/>
</ds:datastoreItem>
</file>

<file path=customXml/itemProps2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23.xml><?xml version="1.0" encoding="utf-8"?>
<ds:datastoreItem xmlns:ds="http://schemas.openxmlformats.org/officeDocument/2006/customXml" ds:itemID="{74DD7968-5338-4A7C-9AB7-71E317FAD14A}">
  <ds:schemaRefs/>
</ds:datastoreItem>
</file>

<file path=customXml/itemProps24.xml><?xml version="1.0" encoding="utf-8"?>
<ds:datastoreItem xmlns:ds="http://schemas.openxmlformats.org/officeDocument/2006/customXml" ds:itemID="{B25CBE9C-579C-4D62-9791-670FFEF0C740}">
  <ds:schemaRefs/>
</ds:datastoreItem>
</file>

<file path=customXml/itemProps25.xml><?xml version="1.0" encoding="utf-8"?>
<ds:datastoreItem xmlns:ds="http://schemas.openxmlformats.org/officeDocument/2006/customXml" ds:itemID="{BA05E49B-70B5-4FEC-89D5-F69F52BE5B81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3E560EA-D040-407D-89F2-11DBB1CFF549}">
  <ds:schemaRefs/>
</ds:datastoreItem>
</file>

<file path=customXml/itemProps4.xml><?xml version="1.0" encoding="utf-8"?>
<ds:datastoreItem xmlns:ds="http://schemas.openxmlformats.org/officeDocument/2006/customXml" ds:itemID="{A010FBFC-ED9D-4776-849D-81EABF9D112A}">
  <ds:schemaRefs/>
</ds:datastoreItem>
</file>

<file path=customXml/itemProps5.xml><?xml version="1.0" encoding="utf-8"?>
<ds:datastoreItem xmlns:ds="http://schemas.openxmlformats.org/officeDocument/2006/customXml" ds:itemID="{EE03465F-F7D7-4591-B744-AA3FB7C55319}">
  <ds:schemaRefs/>
</ds:datastoreItem>
</file>

<file path=customXml/itemProps6.xml><?xml version="1.0" encoding="utf-8"?>
<ds:datastoreItem xmlns:ds="http://schemas.openxmlformats.org/officeDocument/2006/customXml" ds:itemID="{4F0973CE-DD7E-41E5-9BA9-A6B1157D5082}">
  <ds:schemaRefs/>
</ds:datastoreItem>
</file>

<file path=customXml/itemProps7.xml><?xml version="1.0" encoding="utf-8"?>
<ds:datastoreItem xmlns:ds="http://schemas.openxmlformats.org/officeDocument/2006/customXml" ds:itemID="{98A6CD30-0308-49AC-9087-7CF9A48AE377}">
  <ds:schemaRefs/>
</ds:datastoreItem>
</file>

<file path=customXml/itemProps8.xml><?xml version="1.0" encoding="utf-8"?>
<ds:datastoreItem xmlns:ds="http://schemas.openxmlformats.org/officeDocument/2006/customXml" ds:itemID="{05CE1C0B-C62A-4B0F-9450-074B2157624B}">
  <ds:schemaRefs/>
</ds:datastoreItem>
</file>

<file path=customXml/itemProps9.xml><?xml version="1.0" encoding="utf-8"?>
<ds:datastoreItem xmlns:ds="http://schemas.openxmlformats.org/officeDocument/2006/customXml" ds:itemID="{01E8759C-33B8-4AFE-B1FD-690677E2D93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95</Words>
  <Application>Microsoft Office PowerPoint</Application>
  <PresentationFormat>Widescreen</PresentationFormat>
  <Paragraphs>850</Paragraphs>
  <Slides>41</Slides>
  <Notes>24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8" baseType="lpstr">
      <vt:lpstr>Arial</vt:lpstr>
      <vt:lpstr>Arial,Sans-Serif</vt:lpstr>
      <vt:lpstr>Calibri</vt:lpstr>
      <vt:lpstr>Poppins</vt:lpstr>
      <vt:lpstr>Wingdings</vt:lpstr>
      <vt:lpstr>1_Office-tema</vt:lpstr>
      <vt:lpstr>think-cell Slide</vt:lpstr>
      <vt:lpstr>Informasjonsmøte</vt:lpstr>
      <vt:lpstr>Velkommen!</vt:lpstr>
      <vt:lpstr>Agenda</vt:lpstr>
      <vt:lpstr>Agenda </vt:lpstr>
      <vt:lpstr>Agenda</vt:lpstr>
      <vt:lpstr>Mål for dagen </vt:lpstr>
      <vt:lpstr>Agenda</vt:lpstr>
      <vt:lpstr>Ambisjonsnivå</vt:lpstr>
      <vt:lpstr>PowerPoint Presentation</vt:lpstr>
      <vt:lpstr>Design Sprint</vt:lpstr>
      <vt:lpstr>Detaljert prosess: Forankring og beslutning av løsninger fra prosessgjennomganger</vt:lpstr>
      <vt:lpstr>Hva med GAP-innspillene?</vt:lpstr>
      <vt:lpstr>PowerPoint Presentation</vt:lpstr>
      <vt:lpstr>Implementeringsplan – 27.04 - styringsgruppemøte</vt:lpstr>
      <vt:lpstr>Beslutninger om organisatoriske rammer for innføring </vt:lpstr>
      <vt:lpstr>Veien videre</vt:lpstr>
      <vt:lpstr>Agenda</vt:lpstr>
      <vt:lpstr>Lønn og Lønnsnær HR</vt:lpstr>
      <vt:lpstr>Behov til Betaling</vt:lpstr>
      <vt:lpstr>Prosjektidé til Prosjektavslutning</vt:lpstr>
      <vt:lpstr>Rolle- og arbeidsorganisering</vt:lpstr>
      <vt:lpstr>BOTT ØL INNFØRING</vt:lpstr>
      <vt:lpstr>PowerPoint Presentation</vt:lpstr>
      <vt:lpstr>PowerPoint Presentation</vt:lpstr>
      <vt:lpstr>PowerPoint Presentation</vt:lpstr>
      <vt:lpstr>Eksempel: HR-flyt</vt:lpstr>
      <vt:lpstr>BOTT ØL INNFØRING</vt:lpstr>
      <vt:lpstr>PowerPoint Presentation</vt:lpstr>
      <vt:lpstr>Agenda</vt:lpstr>
      <vt:lpstr>Endringsarbeid: Gjennomfø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</vt:lpstr>
      <vt:lpstr>Spørsmål og svar </vt:lpstr>
      <vt:lpstr>Agenda</vt:lpstr>
      <vt:lpstr>Agenda</vt:lpstr>
      <vt:lpstr>Takk for deltakelsen!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2</cp:revision>
  <cp:lastPrinted>2014-06-25T02:16:22Z</cp:lastPrinted>
  <dcterms:created xsi:type="dcterms:W3CDTF">2021-02-05T11:28:59Z</dcterms:created>
  <dcterms:modified xsi:type="dcterms:W3CDTF">2021-05-06T09:4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</Properties>
</file>